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7.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5" r:id="rId3"/>
    <p:sldMasterId id="2147483688" r:id="rId4"/>
  </p:sldMasterIdLst>
  <p:notesMasterIdLst>
    <p:notesMasterId r:id="rId24"/>
  </p:notesMasterIdLst>
  <p:sldIdLst>
    <p:sldId id="259" r:id="rId5"/>
    <p:sldId id="310" r:id="rId6"/>
    <p:sldId id="311" r:id="rId7"/>
    <p:sldId id="313" r:id="rId8"/>
    <p:sldId id="265" r:id="rId9"/>
    <p:sldId id="314" r:id="rId10"/>
    <p:sldId id="315" r:id="rId11"/>
    <p:sldId id="263" r:id="rId12"/>
    <p:sldId id="317" r:id="rId13"/>
    <p:sldId id="292" r:id="rId14"/>
    <p:sldId id="297" r:id="rId15"/>
    <p:sldId id="275" r:id="rId16"/>
    <p:sldId id="258" r:id="rId17"/>
    <p:sldId id="333" r:id="rId18"/>
    <p:sldId id="330" r:id="rId19"/>
    <p:sldId id="331" r:id="rId20"/>
    <p:sldId id="286" r:id="rId21"/>
    <p:sldId id="257" r:id="rId22"/>
    <p:sldId id="256" r:id="rId23"/>
  </p:sldIdLst>
  <p:sldSz cx="12192000" cy="6858000"/>
  <p:notesSz cx="6797675" cy="9928225"/>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DAB31A9-C500-44E0-BD07-1A4CBD41F79B}">
          <p14:sldIdLst>
            <p14:sldId id="259"/>
            <p14:sldId id="310"/>
            <p14:sldId id="311"/>
            <p14:sldId id="313"/>
            <p14:sldId id="265"/>
            <p14:sldId id="314"/>
            <p14:sldId id="315"/>
            <p14:sldId id="263"/>
            <p14:sldId id="317"/>
            <p14:sldId id="292"/>
            <p14:sldId id="297"/>
            <p14:sldId id="275"/>
            <p14:sldId id="258"/>
            <p14:sldId id="333"/>
            <p14:sldId id="330"/>
            <p14:sldId id="331"/>
            <p14:sldId id="286"/>
          </p14:sldIdLst>
        </p14:section>
        <p14:section name="Seção Padrão" id="{226305D6-E8EA-4099-B81F-FF15C01A98E9}">
          <p14:sldIdLst>
            <p14:sldId id="257"/>
            <p14:sldId id="25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32" autoAdjust="0"/>
    <p:restoredTop sz="94660"/>
  </p:normalViewPr>
  <p:slideViewPr>
    <p:cSldViewPr snapToGrid="0">
      <p:cViewPr varScale="1">
        <p:scale>
          <a:sx n="69" d="100"/>
          <a:sy n="69" d="100"/>
        </p:scale>
        <p:origin x="448" y="32"/>
      </p:cViewPr>
      <p:guideLst/>
    </p:cSldViewPr>
  </p:slideViewPr>
  <p:notesTextViewPr>
    <p:cViewPr>
      <p:scale>
        <a:sx n="1" d="1"/>
        <a:sy n="1" d="1"/>
      </p:scale>
      <p:origin x="0" y="0"/>
    </p:cViewPr>
  </p:notesTextViewPr>
  <p:sorterViewPr>
    <p:cViewPr varScale="1">
      <p:scale>
        <a:sx n="100" d="100"/>
        <a:sy n="100" d="100"/>
      </p:scale>
      <p:origin x="0" y="-139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218043436010745E-2"/>
          <c:y val="4.0139580990634922E-2"/>
          <c:w val="0.93744060888155267"/>
          <c:h val="0.93692351558614517"/>
        </c:manualLayout>
      </c:layout>
      <c:ofPieChart>
        <c:ofPieType val="bar"/>
        <c:varyColors val="1"/>
        <c:ser>
          <c:idx val="0"/>
          <c:order val="0"/>
          <c:tx>
            <c:strRef>
              <c:f>Planilha1!$B$1</c:f>
              <c:strCache>
                <c:ptCount val="1"/>
                <c:pt idx="0">
                  <c:v>Vendas</c:v>
                </c:pt>
              </c:strCache>
            </c:strRef>
          </c:tx>
          <c:spPr>
            <a:ln w="34925">
              <a:solidFill>
                <a:schemeClr val="tx2"/>
              </a:solidFill>
            </a:ln>
          </c:spPr>
          <c:dPt>
            <c:idx val="0"/>
            <c:bubble3D val="0"/>
            <c:spPr>
              <a:solidFill>
                <a:srgbClr val="E2D47E"/>
              </a:solidFill>
              <a:ln w="34925">
                <a:solidFill>
                  <a:schemeClr val="tx2"/>
                </a:solidFill>
              </a:ln>
              <a:effectLst/>
            </c:spPr>
            <c:extLst>
              <c:ext xmlns:c16="http://schemas.microsoft.com/office/drawing/2014/chart" uri="{C3380CC4-5D6E-409C-BE32-E72D297353CC}">
                <c16:uniqueId val="{00000001-A00E-4262-8165-6DCF05B29096}"/>
              </c:ext>
            </c:extLst>
          </c:dPt>
          <c:dPt>
            <c:idx val="1"/>
            <c:bubble3D val="0"/>
            <c:spPr>
              <a:solidFill>
                <a:srgbClr val="5DA8CE"/>
              </a:solidFill>
              <a:ln w="34925">
                <a:solidFill>
                  <a:schemeClr val="tx2"/>
                </a:solidFill>
              </a:ln>
              <a:effectLst/>
            </c:spPr>
            <c:extLst>
              <c:ext xmlns:c16="http://schemas.microsoft.com/office/drawing/2014/chart" uri="{C3380CC4-5D6E-409C-BE32-E72D297353CC}">
                <c16:uniqueId val="{00000003-A00E-4262-8165-6DCF05B29096}"/>
              </c:ext>
            </c:extLst>
          </c:dPt>
          <c:dPt>
            <c:idx val="2"/>
            <c:bubble3D val="0"/>
            <c:spPr>
              <a:solidFill>
                <a:srgbClr val="D56859"/>
              </a:solidFill>
              <a:ln w="34925">
                <a:solidFill>
                  <a:schemeClr val="tx2"/>
                </a:solidFill>
              </a:ln>
              <a:effectLst/>
            </c:spPr>
            <c:extLst>
              <c:ext xmlns:c16="http://schemas.microsoft.com/office/drawing/2014/chart" uri="{C3380CC4-5D6E-409C-BE32-E72D297353CC}">
                <c16:uniqueId val="{00000005-A00E-4262-8165-6DCF05B29096}"/>
              </c:ext>
            </c:extLst>
          </c:dPt>
          <c:dPt>
            <c:idx val="3"/>
            <c:bubble3D val="0"/>
            <c:spPr>
              <a:solidFill>
                <a:srgbClr val="7BAC8D"/>
              </a:solidFill>
              <a:ln w="34925">
                <a:solidFill>
                  <a:schemeClr val="tx2"/>
                </a:solidFill>
              </a:ln>
              <a:effectLst/>
            </c:spPr>
            <c:extLst>
              <c:ext xmlns:c16="http://schemas.microsoft.com/office/drawing/2014/chart" uri="{C3380CC4-5D6E-409C-BE32-E72D297353CC}">
                <c16:uniqueId val="{00000007-A00E-4262-8165-6DCF05B29096}"/>
              </c:ext>
            </c:extLst>
          </c:dPt>
          <c:dPt>
            <c:idx val="4"/>
            <c:bubble3D val="0"/>
            <c:spPr>
              <a:solidFill>
                <a:srgbClr val="7BAC8D"/>
              </a:solidFill>
              <a:ln w="34925">
                <a:solidFill>
                  <a:schemeClr val="tx2"/>
                </a:solidFill>
              </a:ln>
              <a:effectLst/>
            </c:spPr>
            <c:extLst>
              <c:ext xmlns:c16="http://schemas.microsoft.com/office/drawing/2014/chart" uri="{C3380CC4-5D6E-409C-BE32-E72D297353CC}">
                <c16:uniqueId val="{00000009-A00E-4262-8165-6DCF05B29096}"/>
              </c:ext>
            </c:extLst>
          </c:dPt>
          <c:cat>
            <c:strRef>
              <c:f>Planilha1!$A$2:$A$5</c:f>
              <c:strCache>
                <c:ptCount val="4"/>
                <c:pt idx="0">
                  <c:v>1º Tri</c:v>
                </c:pt>
                <c:pt idx="1">
                  <c:v>2º Tri</c:v>
                </c:pt>
                <c:pt idx="2">
                  <c:v>3º Tri</c:v>
                </c:pt>
                <c:pt idx="3">
                  <c:v>4º Tri</c:v>
                </c:pt>
              </c:strCache>
            </c:strRef>
          </c:cat>
          <c:val>
            <c:numRef>
              <c:f>Planilha1!$B$2:$B$5</c:f>
              <c:numCache>
                <c:formatCode>General</c:formatCode>
                <c:ptCount val="4"/>
                <c:pt idx="0">
                  <c:v>1</c:v>
                </c:pt>
                <c:pt idx="1">
                  <c:v>1</c:v>
                </c:pt>
                <c:pt idx="2">
                  <c:v>1</c:v>
                </c:pt>
                <c:pt idx="3">
                  <c:v>1</c:v>
                </c:pt>
              </c:numCache>
            </c:numRef>
          </c:val>
          <c:extLst>
            <c:ext xmlns:c16="http://schemas.microsoft.com/office/drawing/2014/chart" uri="{C3380CC4-5D6E-409C-BE32-E72D297353CC}">
              <c16:uniqueId val="{0000000A-A00E-4262-8165-6DCF05B29096}"/>
            </c:ext>
          </c:extLst>
        </c:ser>
        <c:dLbls>
          <c:showLegendKey val="0"/>
          <c:showVal val="0"/>
          <c:showCatName val="0"/>
          <c:showSerName val="0"/>
          <c:showPercent val="0"/>
          <c:showBubbleSize val="0"/>
          <c:showLeaderLines val="1"/>
        </c:dLbls>
        <c:gapWidth val="60"/>
        <c:splitType val="percent"/>
        <c:splitPos val="10"/>
        <c:secondPieSize val="5"/>
        <c:serLines>
          <c:spPr>
            <a:ln w="9525" cap="flat" cmpd="sng" algn="ctr">
              <a:solidFill>
                <a:schemeClr val="tx1">
                  <a:lumMod val="35000"/>
                  <a:lumOff val="65000"/>
                </a:schemeClr>
              </a:solidFill>
              <a:round/>
            </a:ln>
            <a:effectLst/>
          </c:spPr>
        </c:serLines>
      </c:ofPieChart>
      <c:spPr>
        <a:noFill/>
        <a:ln w="508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915"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473DDE-A924-4642-A385-C8D7EFD0D92F}" type="doc">
      <dgm:prSet loTypeId="urn:microsoft.com/office/officeart/2005/8/layout/venn1" loCatId="relationship" qsTypeId="urn:microsoft.com/office/officeart/2005/8/quickstyle/simple1" qsCatId="simple" csTypeId="urn:microsoft.com/office/officeart/2005/8/colors/accent1_2" csCatId="accent1"/>
      <dgm:spPr/>
      <dgm:t>
        <a:bodyPr/>
        <a:lstStyle/>
        <a:p>
          <a:endParaRPr lang="pt-BR"/>
        </a:p>
      </dgm:t>
    </dgm:pt>
    <dgm:pt modelId="{38946BE8-E7C5-4786-B24E-F8FD7AFC39FB}" type="pres">
      <dgm:prSet presAssocID="{C8473DDE-A924-4642-A385-C8D7EFD0D92F}" presName="compositeShape" presStyleCnt="0">
        <dgm:presLayoutVars>
          <dgm:chMax val="7"/>
          <dgm:dir/>
          <dgm:resizeHandles val="exact"/>
        </dgm:presLayoutVars>
      </dgm:prSet>
      <dgm:spPr/>
    </dgm:pt>
  </dgm:ptLst>
  <dgm:cxnLst>
    <dgm:cxn modelId="{979B7CF6-9003-4989-9A77-D6BDC7E051B2}" type="presOf" srcId="{C8473DDE-A924-4642-A385-C8D7EFD0D92F}" destId="{38946BE8-E7C5-4786-B24E-F8FD7AFC39FB}" srcOrd="0"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169893-06AB-4AFE-B922-EB9CDDA0D7C0}" type="doc">
      <dgm:prSet loTypeId="urn:microsoft.com/office/officeart/2008/layout/PictureStrips" loCatId="list" qsTypeId="urn:microsoft.com/office/officeart/2005/8/quickstyle/simple1" qsCatId="simple" csTypeId="urn:microsoft.com/office/officeart/2005/8/colors/colorful1" csCatId="colorful" phldr="1"/>
      <dgm:spPr/>
    </dgm:pt>
    <dgm:pt modelId="{557E69A6-406F-4E74-BCEC-73B5DE4021AF}">
      <dgm:prSet phldrT="[Texto]" custT="1"/>
      <dgm:spPr/>
      <dgm:t>
        <a:bodyPr/>
        <a:lstStyle/>
        <a:p>
          <a:r>
            <a:rPr lang="pt-BR" sz="6600" dirty="0"/>
            <a:t>Oferta</a:t>
          </a:r>
        </a:p>
      </dgm:t>
    </dgm:pt>
    <dgm:pt modelId="{E5171E82-88C5-41E4-85E4-253297A67246}" type="parTrans" cxnId="{9BE0DC2C-AD2A-45A6-991F-948AB74A5DFC}">
      <dgm:prSet/>
      <dgm:spPr/>
      <dgm:t>
        <a:bodyPr/>
        <a:lstStyle/>
        <a:p>
          <a:endParaRPr lang="pt-BR"/>
        </a:p>
      </dgm:t>
    </dgm:pt>
    <dgm:pt modelId="{758DDD2A-6C86-4CD6-8460-89884345FF6F}" type="sibTrans" cxnId="{9BE0DC2C-AD2A-45A6-991F-948AB74A5DFC}">
      <dgm:prSet/>
      <dgm:spPr/>
      <dgm:t>
        <a:bodyPr/>
        <a:lstStyle/>
        <a:p>
          <a:endParaRPr lang="pt-BR"/>
        </a:p>
      </dgm:t>
    </dgm:pt>
    <dgm:pt modelId="{87B42753-7E5A-4825-892D-62AC2DC9AA22}">
      <dgm:prSet phldrT="[Texto]"/>
      <dgm:spPr/>
      <dgm:t>
        <a:bodyPr/>
        <a:lstStyle/>
        <a:p>
          <a:r>
            <a:rPr lang="pt-BR" dirty="0"/>
            <a:t>Equidade</a:t>
          </a:r>
        </a:p>
      </dgm:t>
    </dgm:pt>
    <dgm:pt modelId="{34DD21D5-2795-4D9F-BF57-DAF737A181C2}" type="parTrans" cxnId="{3E410ABD-E1D3-432B-9FDA-C490774AA266}">
      <dgm:prSet/>
      <dgm:spPr/>
      <dgm:t>
        <a:bodyPr/>
        <a:lstStyle/>
        <a:p>
          <a:endParaRPr lang="pt-BR"/>
        </a:p>
      </dgm:t>
    </dgm:pt>
    <dgm:pt modelId="{8AE0041A-F17F-495C-AD96-3AC988D76158}" type="sibTrans" cxnId="{3E410ABD-E1D3-432B-9FDA-C490774AA266}">
      <dgm:prSet/>
      <dgm:spPr/>
      <dgm:t>
        <a:bodyPr/>
        <a:lstStyle/>
        <a:p>
          <a:endParaRPr lang="pt-BR"/>
        </a:p>
      </dgm:t>
    </dgm:pt>
    <dgm:pt modelId="{AA0A2C1C-8D38-431B-939D-1C90E9E44272}">
      <dgm:prSet phldrT="[Texto]"/>
      <dgm:spPr/>
      <dgm:t>
        <a:bodyPr/>
        <a:lstStyle/>
        <a:p>
          <a:r>
            <a:rPr lang="pt-BR" dirty="0"/>
            <a:t>Qualidade</a:t>
          </a:r>
        </a:p>
      </dgm:t>
    </dgm:pt>
    <dgm:pt modelId="{333BC9CC-6D14-4B34-95D6-B57EFBA56588}" type="parTrans" cxnId="{3E067BDC-0EAE-4F68-B6DC-86EB3E217082}">
      <dgm:prSet/>
      <dgm:spPr/>
      <dgm:t>
        <a:bodyPr/>
        <a:lstStyle/>
        <a:p>
          <a:endParaRPr lang="pt-BR"/>
        </a:p>
      </dgm:t>
    </dgm:pt>
    <dgm:pt modelId="{835A56A2-8791-4885-A95B-447D72BA32F5}" type="sibTrans" cxnId="{3E067BDC-0EAE-4F68-B6DC-86EB3E217082}">
      <dgm:prSet/>
      <dgm:spPr/>
      <dgm:t>
        <a:bodyPr/>
        <a:lstStyle/>
        <a:p>
          <a:endParaRPr lang="pt-BR"/>
        </a:p>
      </dgm:t>
    </dgm:pt>
    <dgm:pt modelId="{F65A038A-D6D1-46DB-8113-B34456086C64}" type="pres">
      <dgm:prSet presAssocID="{4B169893-06AB-4AFE-B922-EB9CDDA0D7C0}" presName="Name0" presStyleCnt="0">
        <dgm:presLayoutVars>
          <dgm:dir/>
          <dgm:resizeHandles val="exact"/>
        </dgm:presLayoutVars>
      </dgm:prSet>
      <dgm:spPr/>
    </dgm:pt>
    <dgm:pt modelId="{1636CDE8-13C5-4A71-8B6A-128E62B5B616}" type="pres">
      <dgm:prSet presAssocID="{557E69A6-406F-4E74-BCEC-73B5DE4021AF}" presName="composite" presStyleCnt="0"/>
      <dgm:spPr/>
    </dgm:pt>
    <dgm:pt modelId="{C2E4E24C-4AA1-46D8-B50E-5B944038EB63}" type="pres">
      <dgm:prSet presAssocID="{557E69A6-406F-4E74-BCEC-73B5DE4021AF}" presName="rect1" presStyleLbl="trAlignAcc1" presStyleIdx="0" presStyleCnt="3">
        <dgm:presLayoutVars>
          <dgm:bulletEnabled val="1"/>
        </dgm:presLayoutVars>
      </dgm:prSet>
      <dgm:spPr/>
    </dgm:pt>
    <dgm:pt modelId="{184ADD9E-BECE-4834-B396-7E627C104276}" type="pres">
      <dgm:prSet presAssocID="{557E69A6-406F-4E74-BCEC-73B5DE4021AF}" presName="rect2" presStyleLbl="fgImgPlace1" presStyleIdx="0" presStyleCnt="3" custScaleX="106651" custScaleY="80052"/>
      <dgm:spPr>
        <a:blipFill>
          <a:blip xmlns:r="http://schemas.openxmlformats.org/officeDocument/2006/relationships" r:embed="rId1">
            <a:duotone>
              <a:schemeClr val="accent2">
                <a:hueOff val="0"/>
                <a:satOff val="0"/>
                <a:lumOff val="0"/>
                <a:alphaOff val="0"/>
                <a:shade val="20000"/>
                <a:satMod val="200000"/>
              </a:schemeClr>
              <a:schemeClr val="accent2">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6000" r="-6000"/>
          </a:stretch>
        </a:blipFill>
      </dgm:spPr>
      <dgm:extLst>
        <a:ext uri="{E40237B7-FDA0-4F09-8148-C483321AD2D9}">
          <dgm14:cNvPr xmlns:dgm14="http://schemas.microsoft.com/office/drawing/2010/diagram" id="0" name="" descr="Professor"/>
        </a:ext>
      </dgm:extLst>
    </dgm:pt>
    <dgm:pt modelId="{D705E39D-D300-400B-90AC-53E8FA8127B1}" type="pres">
      <dgm:prSet presAssocID="{758DDD2A-6C86-4CD6-8460-89884345FF6F}" presName="sibTrans" presStyleCnt="0"/>
      <dgm:spPr/>
    </dgm:pt>
    <dgm:pt modelId="{FC65527D-F31E-4F3F-98A2-56E30C5A3DAB}" type="pres">
      <dgm:prSet presAssocID="{87B42753-7E5A-4825-892D-62AC2DC9AA22}" presName="composite" presStyleCnt="0"/>
      <dgm:spPr/>
    </dgm:pt>
    <dgm:pt modelId="{B14C4705-9EE5-4D48-82CE-DCB1EE677561}" type="pres">
      <dgm:prSet presAssocID="{87B42753-7E5A-4825-892D-62AC2DC9AA22}" presName="rect1" presStyleLbl="trAlignAcc1" presStyleIdx="1" presStyleCnt="3">
        <dgm:presLayoutVars>
          <dgm:bulletEnabled val="1"/>
        </dgm:presLayoutVars>
      </dgm:prSet>
      <dgm:spPr/>
    </dgm:pt>
    <dgm:pt modelId="{71A5A2BC-1850-4971-9364-180599D58143}" type="pres">
      <dgm:prSet presAssocID="{87B42753-7E5A-4825-892D-62AC2DC9AA22}" presName="rect2" presStyleLbl="fgImgPlace1" presStyleIdx="1" presStyleCnt="3" custAng="0"/>
      <dgm:spPr>
        <a:blipFill>
          <a:blip xmlns:r="http://schemas.openxmlformats.org/officeDocument/2006/relationships" r:embed="rId3">
            <a:duotone>
              <a:schemeClr val="accent3">
                <a:hueOff val="0"/>
                <a:satOff val="0"/>
                <a:lumOff val="0"/>
                <a:alphaOff val="0"/>
                <a:shade val="20000"/>
                <a:satMod val="200000"/>
              </a:schemeClr>
              <a:schemeClr val="accent3">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dgm:spPr>
      <dgm:extLst>
        <a:ext uri="{E40237B7-FDA0-4F09-8148-C483321AD2D9}">
          <dgm14:cNvPr xmlns:dgm14="http://schemas.microsoft.com/office/drawing/2010/diagram" id="0" name="" descr="Crianças"/>
        </a:ext>
      </dgm:extLst>
    </dgm:pt>
    <dgm:pt modelId="{C5F06F30-E48F-451B-8259-5F21744E0657}" type="pres">
      <dgm:prSet presAssocID="{8AE0041A-F17F-495C-AD96-3AC988D76158}" presName="sibTrans" presStyleCnt="0"/>
      <dgm:spPr/>
    </dgm:pt>
    <dgm:pt modelId="{CB2BD627-7CEC-451E-A546-56FF45EF9B18}" type="pres">
      <dgm:prSet presAssocID="{AA0A2C1C-8D38-431B-939D-1C90E9E44272}" presName="composite" presStyleCnt="0"/>
      <dgm:spPr/>
    </dgm:pt>
    <dgm:pt modelId="{6CB9E1DE-D190-41F6-B08E-E5C36613F82D}" type="pres">
      <dgm:prSet presAssocID="{AA0A2C1C-8D38-431B-939D-1C90E9E44272}" presName="rect1" presStyleLbl="trAlignAcc1" presStyleIdx="2" presStyleCnt="3">
        <dgm:presLayoutVars>
          <dgm:bulletEnabled val="1"/>
        </dgm:presLayoutVars>
      </dgm:prSet>
      <dgm:spPr/>
    </dgm:pt>
    <dgm:pt modelId="{DD03FCB5-7693-412D-832E-F908C0E49BAE}" type="pres">
      <dgm:prSet presAssocID="{AA0A2C1C-8D38-431B-939D-1C90E9E44272}" presName="rect2" presStyleLbl="fgImgPlace1" presStyleIdx="2" presStyleCnt="3"/>
      <dgm:spPr>
        <a:blipFill>
          <a:blip xmlns:r="http://schemas.openxmlformats.org/officeDocument/2006/relationships" r:embed="rId5">
            <a:duotone>
              <a:schemeClr val="accent4">
                <a:hueOff val="0"/>
                <a:satOff val="0"/>
                <a:lumOff val="0"/>
                <a:alphaOff val="0"/>
                <a:shade val="20000"/>
                <a:satMod val="200000"/>
              </a:schemeClr>
              <a:schemeClr val="accent4">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dgm:spPr>
      <dgm:extLst>
        <a:ext uri="{E40237B7-FDA0-4F09-8148-C483321AD2D9}">
          <dgm14:cNvPr xmlns:dgm14="http://schemas.microsoft.com/office/drawing/2010/diagram" id="0" name="" descr="Laptop"/>
        </a:ext>
      </dgm:extLst>
    </dgm:pt>
  </dgm:ptLst>
  <dgm:cxnLst>
    <dgm:cxn modelId="{9BE0DC2C-AD2A-45A6-991F-948AB74A5DFC}" srcId="{4B169893-06AB-4AFE-B922-EB9CDDA0D7C0}" destId="{557E69A6-406F-4E74-BCEC-73B5DE4021AF}" srcOrd="0" destOrd="0" parTransId="{E5171E82-88C5-41E4-85E4-253297A67246}" sibTransId="{758DDD2A-6C86-4CD6-8460-89884345FF6F}"/>
    <dgm:cxn modelId="{29B9A03F-74BF-4D07-B6EC-177F273E50E5}" type="presOf" srcId="{4B169893-06AB-4AFE-B922-EB9CDDA0D7C0}" destId="{F65A038A-D6D1-46DB-8113-B34456086C64}" srcOrd="0" destOrd="0" presId="urn:microsoft.com/office/officeart/2008/layout/PictureStrips"/>
    <dgm:cxn modelId="{AA203A48-041B-4211-8F61-07D86E03B693}" type="presOf" srcId="{557E69A6-406F-4E74-BCEC-73B5DE4021AF}" destId="{C2E4E24C-4AA1-46D8-B50E-5B944038EB63}" srcOrd="0" destOrd="0" presId="urn:microsoft.com/office/officeart/2008/layout/PictureStrips"/>
    <dgm:cxn modelId="{3E410ABD-E1D3-432B-9FDA-C490774AA266}" srcId="{4B169893-06AB-4AFE-B922-EB9CDDA0D7C0}" destId="{87B42753-7E5A-4825-892D-62AC2DC9AA22}" srcOrd="1" destOrd="0" parTransId="{34DD21D5-2795-4D9F-BF57-DAF737A181C2}" sibTransId="{8AE0041A-F17F-495C-AD96-3AC988D76158}"/>
    <dgm:cxn modelId="{3E067BDC-0EAE-4F68-B6DC-86EB3E217082}" srcId="{4B169893-06AB-4AFE-B922-EB9CDDA0D7C0}" destId="{AA0A2C1C-8D38-431B-939D-1C90E9E44272}" srcOrd="2" destOrd="0" parTransId="{333BC9CC-6D14-4B34-95D6-B57EFBA56588}" sibTransId="{835A56A2-8791-4885-A95B-447D72BA32F5}"/>
    <dgm:cxn modelId="{685DBDE6-90D1-4A2B-9798-1DA40279CA85}" type="presOf" srcId="{87B42753-7E5A-4825-892D-62AC2DC9AA22}" destId="{B14C4705-9EE5-4D48-82CE-DCB1EE677561}" srcOrd="0" destOrd="0" presId="urn:microsoft.com/office/officeart/2008/layout/PictureStrips"/>
    <dgm:cxn modelId="{99B437EC-D724-4507-A07C-8406F115B393}" type="presOf" srcId="{AA0A2C1C-8D38-431B-939D-1C90E9E44272}" destId="{6CB9E1DE-D190-41F6-B08E-E5C36613F82D}" srcOrd="0" destOrd="0" presId="urn:microsoft.com/office/officeart/2008/layout/PictureStrips"/>
    <dgm:cxn modelId="{FEB32269-220E-4390-8AD1-AC3CEDE1C2B8}" type="presParOf" srcId="{F65A038A-D6D1-46DB-8113-B34456086C64}" destId="{1636CDE8-13C5-4A71-8B6A-128E62B5B616}" srcOrd="0" destOrd="0" presId="urn:microsoft.com/office/officeart/2008/layout/PictureStrips"/>
    <dgm:cxn modelId="{A10614BA-1CD4-455F-8B9F-4D0336ABB4D1}" type="presParOf" srcId="{1636CDE8-13C5-4A71-8B6A-128E62B5B616}" destId="{C2E4E24C-4AA1-46D8-B50E-5B944038EB63}" srcOrd="0" destOrd="0" presId="urn:microsoft.com/office/officeart/2008/layout/PictureStrips"/>
    <dgm:cxn modelId="{650A8FCF-C121-4D0C-9FBD-1A3A8D616175}" type="presParOf" srcId="{1636CDE8-13C5-4A71-8B6A-128E62B5B616}" destId="{184ADD9E-BECE-4834-B396-7E627C104276}" srcOrd="1" destOrd="0" presId="urn:microsoft.com/office/officeart/2008/layout/PictureStrips"/>
    <dgm:cxn modelId="{5D81163D-098E-45DF-91E8-8683A8B70D29}" type="presParOf" srcId="{F65A038A-D6D1-46DB-8113-B34456086C64}" destId="{D705E39D-D300-400B-90AC-53E8FA8127B1}" srcOrd="1" destOrd="0" presId="urn:microsoft.com/office/officeart/2008/layout/PictureStrips"/>
    <dgm:cxn modelId="{1930C204-1085-4D5E-AAD2-CF909776B21A}" type="presParOf" srcId="{F65A038A-D6D1-46DB-8113-B34456086C64}" destId="{FC65527D-F31E-4F3F-98A2-56E30C5A3DAB}" srcOrd="2" destOrd="0" presId="urn:microsoft.com/office/officeart/2008/layout/PictureStrips"/>
    <dgm:cxn modelId="{D5E2AB09-3A4D-4CF1-94FE-802F4E371749}" type="presParOf" srcId="{FC65527D-F31E-4F3F-98A2-56E30C5A3DAB}" destId="{B14C4705-9EE5-4D48-82CE-DCB1EE677561}" srcOrd="0" destOrd="0" presId="urn:microsoft.com/office/officeart/2008/layout/PictureStrips"/>
    <dgm:cxn modelId="{26534FEB-331C-4DA7-B82A-855EDEB87F9C}" type="presParOf" srcId="{FC65527D-F31E-4F3F-98A2-56E30C5A3DAB}" destId="{71A5A2BC-1850-4971-9364-180599D58143}" srcOrd="1" destOrd="0" presId="urn:microsoft.com/office/officeart/2008/layout/PictureStrips"/>
    <dgm:cxn modelId="{BF9168B0-5FAB-4D2B-87CD-3B7D974FF0A5}" type="presParOf" srcId="{F65A038A-D6D1-46DB-8113-B34456086C64}" destId="{C5F06F30-E48F-451B-8259-5F21744E0657}" srcOrd="3" destOrd="0" presId="urn:microsoft.com/office/officeart/2008/layout/PictureStrips"/>
    <dgm:cxn modelId="{B302993A-9BBC-4CC5-9E6A-01CBEAA555CB}" type="presParOf" srcId="{F65A038A-D6D1-46DB-8113-B34456086C64}" destId="{CB2BD627-7CEC-451E-A546-56FF45EF9B18}" srcOrd="4" destOrd="0" presId="urn:microsoft.com/office/officeart/2008/layout/PictureStrips"/>
    <dgm:cxn modelId="{A2F7B94A-C49D-4BBF-A31F-592DAF67B338}" type="presParOf" srcId="{CB2BD627-7CEC-451E-A546-56FF45EF9B18}" destId="{6CB9E1DE-D190-41F6-B08E-E5C36613F82D}" srcOrd="0" destOrd="0" presId="urn:microsoft.com/office/officeart/2008/layout/PictureStrips"/>
    <dgm:cxn modelId="{F7F90B1E-432C-4B69-B455-9F28672E7B2F}" type="presParOf" srcId="{CB2BD627-7CEC-451E-A546-56FF45EF9B18}" destId="{DD03FCB5-7693-412D-832E-F908C0E49BAE}" srcOrd="1" destOrd="0" presId="urn:microsoft.com/office/officeart/2008/layout/PictureStrips"/>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B039D927-701F-4C75-9603-9D5598A88778}"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pt-BR"/>
        </a:p>
      </dgm:t>
    </dgm:pt>
    <dgm:pt modelId="{6EC22E5A-1F33-4BB2-92E9-98A72DC5340F}">
      <dgm:prSet phldrT="[Texto]"/>
      <dgm:spPr/>
      <dgm:t>
        <a:bodyPr/>
        <a:lstStyle/>
        <a:p>
          <a:r>
            <a:rPr lang="pt-BR" dirty="0"/>
            <a:t>Acesso à </a:t>
          </a:r>
          <a:r>
            <a:rPr lang="pt-BR" dirty="0" err="1"/>
            <a:t>TICs</a:t>
          </a:r>
          <a:endParaRPr lang="pt-BR" dirty="0"/>
        </a:p>
      </dgm:t>
    </dgm:pt>
    <dgm:pt modelId="{551D6A00-29E2-46F4-B135-0FD92ECA9AB8}" type="parTrans" cxnId="{8846A8E8-23BF-4121-903E-068A5AEB5E10}">
      <dgm:prSet/>
      <dgm:spPr/>
      <dgm:t>
        <a:bodyPr/>
        <a:lstStyle/>
        <a:p>
          <a:endParaRPr lang="pt-BR"/>
        </a:p>
      </dgm:t>
    </dgm:pt>
    <dgm:pt modelId="{4E85071D-8DD9-44DD-8437-FDEAE6DE4989}" type="sibTrans" cxnId="{8846A8E8-23BF-4121-903E-068A5AEB5E10}">
      <dgm:prSet/>
      <dgm:spPr/>
      <dgm:t>
        <a:bodyPr/>
        <a:lstStyle/>
        <a:p>
          <a:endParaRPr lang="pt-BR"/>
        </a:p>
      </dgm:t>
    </dgm:pt>
    <dgm:pt modelId="{D532856B-C453-4EE3-B642-AC5F86608A7B}">
      <dgm:prSet phldrT="[Texto]"/>
      <dgm:spPr/>
      <dgm:t>
        <a:bodyPr/>
        <a:lstStyle/>
        <a:p>
          <a:r>
            <a:rPr lang="pt-BR" dirty="0"/>
            <a:t>Uso</a:t>
          </a:r>
        </a:p>
      </dgm:t>
    </dgm:pt>
    <dgm:pt modelId="{21D288AC-56AC-4C14-917B-036D0F425FCD}" type="parTrans" cxnId="{46D8916C-989D-418D-B7DD-ECEF7196E421}">
      <dgm:prSet/>
      <dgm:spPr/>
      <dgm:t>
        <a:bodyPr/>
        <a:lstStyle/>
        <a:p>
          <a:endParaRPr lang="pt-BR"/>
        </a:p>
      </dgm:t>
    </dgm:pt>
    <dgm:pt modelId="{3C98F24D-8717-4138-9DF5-5BCDF4AAF197}" type="sibTrans" cxnId="{46D8916C-989D-418D-B7DD-ECEF7196E421}">
      <dgm:prSet/>
      <dgm:spPr/>
      <dgm:t>
        <a:bodyPr/>
        <a:lstStyle/>
        <a:p>
          <a:endParaRPr lang="pt-BR"/>
        </a:p>
      </dgm:t>
    </dgm:pt>
    <dgm:pt modelId="{5DF1F369-26DC-469E-BF65-189919EE6782}">
      <dgm:prSet phldrT="[Texto]"/>
      <dgm:spPr/>
      <dgm:t>
        <a:bodyPr/>
        <a:lstStyle/>
        <a:p>
          <a:r>
            <a:rPr lang="pt-BR" dirty="0"/>
            <a:t>Apropriação</a:t>
          </a:r>
        </a:p>
      </dgm:t>
    </dgm:pt>
    <dgm:pt modelId="{3BC0C16A-81FB-4C1B-B596-DA762A3E3E8D}" type="parTrans" cxnId="{D208558A-C5FE-4CA3-9655-E2FD489F101A}">
      <dgm:prSet/>
      <dgm:spPr/>
      <dgm:t>
        <a:bodyPr/>
        <a:lstStyle/>
        <a:p>
          <a:endParaRPr lang="pt-BR"/>
        </a:p>
      </dgm:t>
    </dgm:pt>
    <dgm:pt modelId="{D464EAE7-7BEC-475B-A023-EC4F6F1FCFF7}" type="sibTrans" cxnId="{D208558A-C5FE-4CA3-9655-E2FD489F101A}">
      <dgm:prSet/>
      <dgm:spPr/>
      <dgm:t>
        <a:bodyPr/>
        <a:lstStyle/>
        <a:p>
          <a:endParaRPr lang="pt-BR"/>
        </a:p>
      </dgm:t>
    </dgm:pt>
    <dgm:pt modelId="{B19F5E1F-5E1F-4BDA-A933-DAAC3CEFEC09}" type="pres">
      <dgm:prSet presAssocID="{B039D927-701F-4C75-9603-9D5598A88778}" presName="rootnode" presStyleCnt="0">
        <dgm:presLayoutVars>
          <dgm:chMax/>
          <dgm:chPref/>
          <dgm:dir/>
          <dgm:animLvl val="lvl"/>
        </dgm:presLayoutVars>
      </dgm:prSet>
      <dgm:spPr/>
    </dgm:pt>
    <dgm:pt modelId="{60D532DB-A8CA-4322-9E26-3F7A17B189CB}" type="pres">
      <dgm:prSet presAssocID="{6EC22E5A-1F33-4BB2-92E9-98A72DC5340F}" presName="composite" presStyleCnt="0"/>
      <dgm:spPr/>
    </dgm:pt>
    <dgm:pt modelId="{85BA5EB1-8F90-48BF-986A-B3787736CDBC}" type="pres">
      <dgm:prSet presAssocID="{6EC22E5A-1F33-4BB2-92E9-98A72DC5340F}" presName="LShape" presStyleLbl="alignNode1" presStyleIdx="0" presStyleCnt="5"/>
      <dgm:spPr>
        <a:solidFill>
          <a:srgbClr val="0070C0"/>
        </a:solidFill>
      </dgm:spPr>
    </dgm:pt>
    <dgm:pt modelId="{3FB6A78E-1865-48B3-8B70-171CAE8321C4}" type="pres">
      <dgm:prSet presAssocID="{6EC22E5A-1F33-4BB2-92E9-98A72DC5340F}" presName="ParentText" presStyleLbl="revTx" presStyleIdx="0" presStyleCnt="3">
        <dgm:presLayoutVars>
          <dgm:chMax val="0"/>
          <dgm:chPref val="0"/>
          <dgm:bulletEnabled val="1"/>
        </dgm:presLayoutVars>
      </dgm:prSet>
      <dgm:spPr/>
    </dgm:pt>
    <dgm:pt modelId="{76C3BDE7-F947-41E1-8747-E02A3AD2ADB0}" type="pres">
      <dgm:prSet presAssocID="{6EC22E5A-1F33-4BB2-92E9-98A72DC5340F}" presName="Triangle" presStyleLbl="alignNode1" presStyleIdx="1" presStyleCnt="5"/>
      <dgm:spPr/>
    </dgm:pt>
    <dgm:pt modelId="{5188D36A-7E53-463C-A4B8-812E3EDE1315}" type="pres">
      <dgm:prSet presAssocID="{4E85071D-8DD9-44DD-8437-FDEAE6DE4989}" presName="sibTrans" presStyleCnt="0"/>
      <dgm:spPr/>
    </dgm:pt>
    <dgm:pt modelId="{5E279867-1000-4D63-8173-27AC627DD03C}" type="pres">
      <dgm:prSet presAssocID="{4E85071D-8DD9-44DD-8437-FDEAE6DE4989}" presName="space" presStyleCnt="0"/>
      <dgm:spPr/>
    </dgm:pt>
    <dgm:pt modelId="{F1001691-EC64-4BD8-B774-5C46B5B7B0C0}" type="pres">
      <dgm:prSet presAssocID="{D532856B-C453-4EE3-B642-AC5F86608A7B}" presName="composite" presStyleCnt="0"/>
      <dgm:spPr/>
    </dgm:pt>
    <dgm:pt modelId="{503FD119-EA07-4187-8411-21ACFC921D58}" type="pres">
      <dgm:prSet presAssocID="{D532856B-C453-4EE3-B642-AC5F86608A7B}" presName="LShape" presStyleLbl="alignNode1" presStyleIdx="2" presStyleCnt="5"/>
      <dgm:spPr>
        <a:solidFill>
          <a:schemeClr val="accent5">
            <a:lumMod val="60000"/>
            <a:lumOff val="40000"/>
          </a:schemeClr>
        </a:solidFill>
      </dgm:spPr>
    </dgm:pt>
    <dgm:pt modelId="{10CA19BA-B60F-4CF9-93A7-9F2A83C4544F}" type="pres">
      <dgm:prSet presAssocID="{D532856B-C453-4EE3-B642-AC5F86608A7B}" presName="ParentText" presStyleLbl="revTx" presStyleIdx="1" presStyleCnt="3">
        <dgm:presLayoutVars>
          <dgm:chMax val="0"/>
          <dgm:chPref val="0"/>
          <dgm:bulletEnabled val="1"/>
        </dgm:presLayoutVars>
      </dgm:prSet>
      <dgm:spPr/>
    </dgm:pt>
    <dgm:pt modelId="{7FC43C69-6F94-4825-8ECD-227F4A83A170}" type="pres">
      <dgm:prSet presAssocID="{D532856B-C453-4EE3-B642-AC5F86608A7B}" presName="Triangle" presStyleLbl="alignNode1" presStyleIdx="3" presStyleCnt="5"/>
      <dgm:spPr/>
    </dgm:pt>
    <dgm:pt modelId="{BE28F6B2-5E26-479C-940A-F77CCF127012}" type="pres">
      <dgm:prSet presAssocID="{3C98F24D-8717-4138-9DF5-5BCDF4AAF197}" presName="sibTrans" presStyleCnt="0"/>
      <dgm:spPr/>
    </dgm:pt>
    <dgm:pt modelId="{6BD5A71A-0E6F-4CC1-BD65-19213EDD02CD}" type="pres">
      <dgm:prSet presAssocID="{3C98F24D-8717-4138-9DF5-5BCDF4AAF197}" presName="space" presStyleCnt="0"/>
      <dgm:spPr/>
    </dgm:pt>
    <dgm:pt modelId="{2EA92CFE-A818-428A-BC2B-3EA30D5D5DCA}" type="pres">
      <dgm:prSet presAssocID="{5DF1F369-26DC-469E-BF65-189919EE6782}" presName="composite" presStyleCnt="0"/>
      <dgm:spPr/>
    </dgm:pt>
    <dgm:pt modelId="{6788801A-09AA-46CF-8AE2-855914A73C66}" type="pres">
      <dgm:prSet presAssocID="{5DF1F369-26DC-469E-BF65-189919EE6782}" presName="LShape" presStyleLbl="alignNode1" presStyleIdx="4" presStyleCnt="5"/>
      <dgm:spPr/>
    </dgm:pt>
    <dgm:pt modelId="{E20BFEF4-7A9A-4A1C-AB48-7A446F74DAE5}" type="pres">
      <dgm:prSet presAssocID="{5DF1F369-26DC-469E-BF65-189919EE6782}" presName="ParentText" presStyleLbl="revTx" presStyleIdx="2" presStyleCnt="3">
        <dgm:presLayoutVars>
          <dgm:chMax val="0"/>
          <dgm:chPref val="0"/>
          <dgm:bulletEnabled val="1"/>
        </dgm:presLayoutVars>
      </dgm:prSet>
      <dgm:spPr/>
    </dgm:pt>
  </dgm:ptLst>
  <dgm:cxnLst>
    <dgm:cxn modelId="{46D8916C-989D-418D-B7DD-ECEF7196E421}" srcId="{B039D927-701F-4C75-9603-9D5598A88778}" destId="{D532856B-C453-4EE3-B642-AC5F86608A7B}" srcOrd="1" destOrd="0" parTransId="{21D288AC-56AC-4C14-917B-036D0F425FCD}" sibTransId="{3C98F24D-8717-4138-9DF5-5BCDF4AAF197}"/>
    <dgm:cxn modelId="{1295E750-7934-4B8C-BF7F-7D01F1BB6655}" type="presOf" srcId="{D532856B-C453-4EE3-B642-AC5F86608A7B}" destId="{10CA19BA-B60F-4CF9-93A7-9F2A83C4544F}" srcOrd="0" destOrd="0" presId="urn:microsoft.com/office/officeart/2009/3/layout/StepUpProcess"/>
    <dgm:cxn modelId="{C617AD77-69AE-4D84-8D41-FC120CB1AF78}" type="presOf" srcId="{5DF1F369-26DC-469E-BF65-189919EE6782}" destId="{E20BFEF4-7A9A-4A1C-AB48-7A446F74DAE5}" srcOrd="0" destOrd="0" presId="urn:microsoft.com/office/officeart/2009/3/layout/StepUpProcess"/>
    <dgm:cxn modelId="{D208558A-C5FE-4CA3-9655-E2FD489F101A}" srcId="{B039D927-701F-4C75-9603-9D5598A88778}" destId="{5DF1F369-26DC-469E-BF65-189919EE6782}" srcOrd="2" destOrd="0" parTransId="{3BC0C16A-81FB-4C1B-B596-DA762A3E3E8D}" sibTransId="{D464EAE7-7BEC-475B-A023-EC4F6F1FCFF7}"/>
    <dgm:cxn modelId="{A1336FB3-FBB8-4846-9624-0BCDDF000EFF}" type="presOf" srcId="{B039D927-701F-4C75-9603-9D5598A88778}" destId="{B19F5E1F-5E1F-4BDA-A933-DAAC3CEFEC09}" srcOrd="0" destOrd="0" presId="urn:microsoft.com/office/officeart/2009/3/layout/StepUpProcess"/>
    <dgm:cxn modelId="{8846A8E8-23BF-4121-903E-068A5AEB5E10}" srcId="{B039D927-701F-4C75-9603-9D5598A88778}" destId="{6EC22E5A-1F33-4BB2-92E9-98A72DC5340F}" srcOrd="0" destOrd="0" parTransId="{551D6A00-29E2-46F4-B135-0FD92ECA9AB8}" sibTransId="{4E85071D-8DD9-44DD-8437-FDEAE6DE4989}"/>
    <dgm:cxn modelId="{6F63C7E9-4796-421D-A5BA-F295BD9A42BD}" type="presOf" srcId="{6EC22E5A-1F33-4BB2-92E9-98A72DC5340F}" destId="{3FB6A78E-1865-48B3-8B70-171CAE8321C4}" srcOrd="0" destOrd="0" presId="urn:microsoft.com/office/officeart/2009/3/layout/StepUpProcess"/>
    <dgm:cxn modelId="{AB43D983-3500-49A6-B879-6C688739712D}" type="presParOf" srcId="{B19F5E1F-5E1F-4BDA-A933-DAAC3CEFEC09}" destId="{60D532DB-A8CA-4322-9E26-3F7A17B189CB}" srcOrd="0" destOrd="0" presId="urn:microsoft.com/office/officeart/2009/3/layout/StepUpProcess"/>
    <dgm:cxn modelId="{BD689C43-D6EB-477A-A857-A1E0A1730441}" type="presParOf" srcId="{60D532DB-A8CA-4322-9E26-3F7A17B189CB}" destId="{85BA5EB1-8F90-48BF-986A-B3787736CDBC}" srcOrd="0" destOrd="0" presId="urn:microsoft.com/office/officeart/2009/3/layout/StepUpProcess"/>
    <dgm:cxn modelId="{1B529977-18B3-4784-9031-27B8F98B826B}" type="presParOf" srcId="{60D532DB-A8CA-4322-9E26-3F7A17B189CB}" destId="{3FB6A78E-1865-48B3-8B70-171CAE8321C4}" srcOrd="1" destOrd="0" presId="urn:microsoft.com/office/officeart/2009/3/layout/StepUpProcess"/>
    <dgm:cxn modelId="{1BCEFF7E-D293-4CA1-B829-DA1F72DC9EB7}" type="presParOf" srcId="{60D532DB-A8CA-4322-9E26-3F7A17B189CB}" destId="{76C3BDE7-F947-41E1-8747-E02A3AD2ADB0}" srcOrd="2" destOrd="0" presId="urn:microsoft.com/office/officeart/2009/3/layout/StepUpProcess"/>
    <dgm:cxn modelId="{5F4C5306-84BB-4B2E-97A8-B297B29229BB}" type="presParOf" srcId="{B19F5E1F-5E1F-4BDA-A933-DAAC3CEFEC09}" destId="{5188D36A-7E53-463C-A4B8-812E3EDE1315}" srcOrd="1" destOrd="0" presId="urn:microsoft.com/office/officeart/2009/3/layout/StepUpProcess"/>
    <dgm:cxn modelId="{A30D91AB-E002-4C49-8C1C-39F497241F40}" type="presParOf" srcId="{5188D36A-7E53-463C-A4B8-812E3EDE1315}" destId="{5E279867-1000-4D63-8173-27AC627DD03C}" srcOrd="0" destOrd="0" presId="urn:microsoft.com/office/officeart/2009/3/layout/StepUpProcess"/>
    <dgm:cxn modelId="{453306B6-E6DC-48CD-A4CD-6A8C56B5A886}" type="presParOf" srcId="{B19F5E1F-5E1F-4BDA-A933-DAAC3CEFEC09}" destId="{F1001691-EC64-4BD8-B774-5C46B5B7B0C0}" srcOrd="2" destOrd="0" presId="urn:microsoft.com/office/officeart/2009/3/layout/StepUpProcess"/>
    <dgm:cxn modelId="{C93C7674-B33A-42FF-B11C-536366363C0D}" type="presParOf" srcId="{F1001691-EC64-4BD8-B774-5C46B5B7B0C0}" destId="{503FD119-EA07-4187-8411-21ACFC921D58}" srcOrd="0" destOrd="0" presId="urn:microsoft.com/office/officeart/2009/3/layout/StepUpProcess"/>
    <dgm:cxn modelId="{ECEB6818-296B-48CC-A265-A4EE28360F04}" type="presParOf" srcId="{F1001691-EC64-4BD8-B774-5C46B5B7B0C0}" destId="{10CA19BA-B60F-4CF9-93A7-9F2A83C4544F}" srcOrd="1" destOrd="0" presId="urn:microsoft.com/office/officeart/2009/3/layout/StepUpProcess"/>
    <dgm:cxn modelId="{50FC6F48-678A-4DC6-BA71-007856A9FE4D}" type="presParOf" srcId="{F1001691-EC64-4BD8-B774-5C46B5B7B0C0}" destId="{7FC43C69-6F94-4825-8ECD-227F4A83A170}" srcOrd="2" destOrd="0" presId="urn:microsoft.com/office/officeart/2009/3/layout/StepUpProcess"/>
    <dgm:cxn modelId="{87FAA8E9-410E-44DD-8C4C-68C63A9E4219}" type="presParOf" srcId="{B19F5E1F-5E1F-4BDA-A933-DAAC3CEFEC09}" destId="{BE28F6B2-5E26-479C-940A-F77CCF127012}" srcOrd="3" destOrd="0" presId="urn:microsoft.com/office/officeart/2009/3/layout/StepUpProcess"/>
    <dgm:cxn modelId="{DB1931C3-43F0-4739-A9C6-8C2BCC68A430}" type="presParOf" srcId="{BE28F6B2-5E26-479C-940A-F77CCF127012}" destId="{6BD5A71A-0E6F-4CC1-BD65-19213EDD02CD}" srcOrd="0" destOrd="0" presId="urn:microsoft.com/office/officeart/2009/3/layout/StepUpProcess"/>
    <dgm:cxn modelId="{4C890E89-2625-44B9-B5A1-094BF9A93349}" type="presParOf" srcId="{B19F5E1F-5E1F-4BDA-A933-DAAC3CEFEC09}" destId="{2EA92CFE-A818-428A-BC2B-3EA30D5D5DCA}" srcOrd="4" destOrd="0" presId="urn:microsoft.com/office/officeart/2009/3/layout/StepUpProcess"/>
    <dgm:cxn modelId="{3543FECB-C859-48E8-BA9D-F66CEC4B4BC2}" type="presParOf" srcId="{2EA92CFE-A818-428A-BC2B-3EA30D5D5DCA}" destId="{6788801A-09AA-46CF-8AE2-855914A73C66}" srcOrd="0" destOrd="0" presId="urn:microsoft.com/office/officeart/2009/3/layout/StepUpProcess"/>
    <dgm:cxn modelId="{03B6E7BF-3975-45D6-BD63-F7DF8C6BE0F1}" type="presParOf" srcId="{2EA92CFE-A818-428A-BC2B-3EA30D5D5DCA}" destId="{E20BFEF4-7A9A-4A1C-AB48-7A446F74DAE5}"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E58D1A2-8558-4A4C-AAC0-4772E14B9FE1}" type="doc">
      <dgm:prSet loTypeId="urn:microsoft.com/office/officeart/2005/8/layout/radial6" loCatId="cycle" qsTypeId="urn:microsoft.com/office/officeart/2005/8/quickstyle/simple1" qsCatId="simple" csTypeId="urn:microsoft.com/office/officeart/2005/8/colors/accent3_4" csCatId="accent3" phldr="1"/>
      <dgm:spPr/>
      <dgm:t>
        <a:bodyPr/>
        <a:lstStyle/>
        <a:p>
          <a:endParaRPr lang="pt-BR"/>
        </a:p>
      </dgm:t>
    </dgm:pt>
    <dgm:pt modelId="{5DF52880-2D68-41D7-8019-1C4B9D29CB3A}">
      <dgm:prSet phldrT="[Texto]"/>
      <dgm:spPr/>
      <dgm:t>
        <a:bodyPr/>
        <a:lstStyle/>
        <a:p>
          <a:r>
            <a:rPr lang="pt-BR" b="1" dirty="0">
              <a:solidFill>
                <a:schemeClr val="tx1"/>
              </a:solidFill>
            </a:rPr>
            <a:t>Política</a:t>
          </a:r>
          <a:r>
            <a:rPr lang="pt-BR" dirty="0"/>
            <a:t> </a:t>
          </a:r>
        </a:p>
      </dgm:t>
    </dgm:pt>
    <dgm:pt modelId="{A2F4349B-DC42-4AFB-BC1F-2F1003AEFACD}" type="parTrans" cxnId="{FD58DD0F-BD35-485D-AD96-D9B4C91F4B69}">
      <dgm:prSet/>
      <dgm:spPr/>
      <dgm:t>
        <a:bodyPr/>
        <a:lstStyle/>
        <a:p>
          <a:endParaRPr lang="pt-BR"/>
        </a:p>
      </dgm:t>
    </dgm:pt>
    <dgm:pt modelId="{A3E92708-1A69-4CB0-9968-2183B14B4183}" type="sibTrans" cxnId="{FD58DD0F-BD35-485D-AD96-D9B4C91F4B69}">
      <dgm:prSet/>
      <dgm:spPr/>
      <dgm:t>
        <a:bodyPr/>
        <a:lstStyle/>
        <a:p>
          <a:endParaRPr lang="pt-BR"/>
        </a:p>
      </dgm:t>
    </dgm:pt>
    <dgm:pt modelId="{2217DF53-2E70-4BC6-85C0-4D74075231F6}">
      <dgm:prSet phldrT="[Texto]" custT="1"/>
      <dgm:spPr>
        <a:solidFill>
          <a:srgbClr val="FF0000"/>
        </a:solidFill>
      </dgm:spPr>
      <dgm:t>
        <a:bodyPr/>
        <a:lstStyle/>
        <a:p>
          <a:r>
            <a:rPr lang="pt-BR" sz="1800" b="1" dirty="0">
              <a:solidFill>
                <a:schemeClr val="tx1"/>
              </a:solidFill>
            </a:rPr>
            <a:t>Visão Estratégica</a:t>
          </a:r>
        </a:p>
      </dgm:t>
    </dgm:pt>
    <dgm:pt modelId="{7BD37D3D-65BB-49CD-A081-5E621B4DCA02}" type="parTrans" cxnId="{288F9318-3B1C-4564-B05D-3C7A8418B77B}">
      <dgm:prSet/>
      <dgm:spPr/>
      <dgm:t>
        <a:bodyPr/>
        <a:lstStyle/>
        <a:p>
          <a:endParaRPr lang="pt-BR"/>
        </a:p>
      </dgm:t>
    </dgm:pt>
    <dgm:pt modelId="{A1C107D3-3494-4892-88A2-9B5B25C714B4}" type="sibTrans" cxnId="{288F9318-3B1C-4564-B05D-3C7A8418B77B}">
      <dgm:prSet/>
      <dgm:spPr/>
      <dgm:t>
        <a:bodyPr/>
        <a:lstStyle/>
        <a:p>
          <a:endParaRPr lang="pt-BR"/>
        </a:p>
      </dgm:t>
    </dgm:pt>
    <dgm:pt modelId="{C2FA62A6-5E78-4C72-A7A3-3FF400763B0C}">
      <dgm:prSet phldrT="[Texto]" custT="1"/>
      <dgm:spPr/>
      <dgm:t>
        <a:bodyPr/>
        <a:lstStyle/>
        <a:p>
          <a:r>
            <a:rPr lang="pt-BR" sz="1800" b="1" dirty="0">
              <a:solidFill>
                <a:schemeClr val="tx1"/>
              </a:solidFill>
            </a:rPr>
            <a:t>Avaliação</a:t>
          </a:r>
        </a:p>
      </dgm:t>
    </dgm:pt>
    <dgm:pt modelId="{26FDCFCD-424E-49AD-B696-A8ED077E4AAF}" type="parTrans" cxnId="{2A39B3CD-6898-44C6-A71D-B4E36A524882}">
      <dgm:prSet/>
      <dgm:spPr/>
      <dgm:t>
        <a:bodyPr/>
        <a:lstStyle/>
        <a:p>
          <a:endParaRPr lang="pt-BR"/>
        </a:p>
      </dgm:t>
    </dgm:pt>
    <dgm:pt modelId="{D0B5F1B3-7857-4C1E-B2B5-8695050FF693}" type="sibTrans" cxnId="{2A39B3CD-6898-44C6-A71D-B4E36A524882}">
      <dgm:prSet/>
      <dgm:spPr/>
      <dgm:t>
        <a:bodyPr/>
        <a:lstStyle/>
        <a:p>
          <a:endParaRPr lang="pt-BR"/>
        </a:p>
      </dgm:t>
    </dgm:pt>
    <dgm:pt modelId="{85355C90-B093-4710-A77A-F216DB7C8A7F}">
      <dgm:prSet phldrT="[Texto]" custT="1"/>
      <dgm:spPr>
        <a:solidFill>
          <a:srgbClr val="FF0000"/>
        </a:solidFill>
      </dgm:spPr>
      <dgm:t>
        <a:bodyPr/>
        <a:lstStyle/>
        <a:p>
          <a:r>
            <a:rPr lang="pt-BR" sz="1800" b="1" dirty="0">
              <a:solidFill>
                <a:schemeClr val="tx1"/>
              </a:solidFill>
            </a:rPr>
            <a:t>Infraestrutura</a:t>
          </a:r>
        </a:p>
      </dgm:t>
    </dgm:pt>
    <dgm:pt modelId="{93C1132F-496F-4A86-B096-7AA2C0087C80}" type="parTrans" cxnId="{A7810FBC-126D-4BC4-9BBE-0615940A4C6B}">
      <dgm:prSet/>
      <dgm:spPr/>
      <dgm:t>
        <a:bodyPr/>
        <a:lstStyle/>
        <a:p>
          <a:endParaRPr lang="pt-BR"/>
        </a:p>
      </dgm:t>
    </dgm:pt>
    <dgm:pt modelId="{45C22439-CDDB-42E1-8408-7894607557CA}" type="sibTrans" cxnId="{A7810FBC-126D-4BC4-9BBE-0615940A4C6B}">
      <dgm:prSet/>
      <dgm:spPr/>
      <dgm:t>
        <a:bodyPr/>
        <a:lstStyle/>
        <a:p>
          <a:endParaRPr lang="pt-BR"/>
        </a:p>
      </dgm:t>
    </dgm:pt>
    <dgm:pt modelId="{AEA64726-9E90-4AC5-96CD-FBF91E60221C}">
      <dgm:prSet phldrT="[Texto]" custT="1"/>
      <dgm:spPr>
        <a:solidFill>
          <a:srgbClr val="FF0000"/>
        </a:solidFill>
      </dgm:spPr>
      <dgm:t>
        <a:bodyPr/>
        <a:lstStyle/>
        <a:p>
          <a:r>
            <a:rPr lang="pt-BR" sz="1800" b="1" dirty="0">
              <a:solidFill>
                <a:schemeClr val="tx1"/>
              </a:solidFill>
            </a:rPr>
            <a:t>Formação Profissional</a:t>
          </a:r>
        </a:p>
      </dgm:t>
    </dgm:pt>
    <dgm:pt modelId="{D39F1DDD-C481-4174-A45B-C434D76CA403}" type="parTrans" cxnId="{C78DDE60-E9EB-4D33-8068-74E840BE7D2F}">
      <dgm:prSet/>
      <dgm:spPr/>
      <dgm:t>
        <a:bodyPr/>
        <a:lstStyle/>
        <a:p>
          <a:endParaRPr lang="pt-BR"/>
        </a:p>
      </dgm:t>
    </dgm:pt>
    <dgm:pt modelId="{89469021-8838-446D-90DF-DA71E0243D47}" type="sibTrans" cxnId="{C78DDE60-E9EB-4D33-8068-74E840BE7D2F}">
      <dgm:prSet/>
      <dgm:spPr/>
      <dgm:t>
        <a:bodyPr/>
        <a:lstStyle/>
        <a:p>
          <a:endParaRPr lang="pt-BR"/>
        </a:p>
      </dgm:t>
    </dgm:pt>
    <dgm:pt modelId="{5D65E2A8-C755-4260-932D-E747C9122C0A}">
      <dgm:prSet phldrT="[Texto]" custT="1"/>
      <dgm:spPr>
        <a:solidFill>
          <a:srgbClr val="FF0000"/>
        </a:solidFill>
      </dgm:spPr>
      <dgm:t>
        <a:bodyPr/>
        <a:lstStyle/>
        <a:p>
          <a:r>
            <a:rPr lang="pt-BR" sz="1800" b="1" dirty="0">
              <a:solidFill>
                <a:schemeClr val="tx1"/>
              </a:solidFill>
            </a:rPr>
            <a:t>Mudanças  Pedagógicas</a:t>
          </a:r>
        </a:p>
      </dgm:t>
    </dgm:pt>
    <dgm:pt modelId="{F7E1D756-C0AB-4D4E-BE99-DDCE878AA06B}" type="parTrans" cxnId="{3519628C-6989-4017-B9DC-E437EEEFEEFC}">
      <dgm:prSet/>
      <dgm:spPr/>
      <dgm:t>
        <a:bodyPr/>
        <a:lstStyle/>
        <a:p>
          <a:endParaRPr lang="pt-BR"/>
        </a:p>
      </dgm:t>
    </dgm:pt>
    <dgm:pt modelId="{1CB5AAF8-F1F4-4A6F-82A7-ED5EBB5C236A}" type="sibTrans" cxnId="{3519628C-6989-4017-B9DC-E437EEEFEEFC}">
      <dgm:prSet/>
      <dgm:spPr/>
      <dgm:t>
        <a:bodyPr/>
        <a:lstStyle/>
        <a:p>
          <a:endParaRPr lang="pt-BR"/>
        </a:p>
      </dgm:t>
    </dgm:pt>
    <dgm:pt modelId="{BAD5CDE0-AAA1-49E9-8317-C932DAF81D4A}">
      <dgm:prSet phldrT="[Texto]" custT="1"/>
      <dgm:spPr/>
      <dgm:t>
        <a:bodyPr/>
        <a:lstStyle/>
        <a:p>
          <a:r>
            <a:rPr lang="pt-BR" sz="1800" b="1" dirty="0">
              <a:solidFill>
                <a:schemeClr val="tx1"/>
              </a:solidFill>
            </a:rPr>
            <a:t>Currículo</a:t>
          </a:r>
        </a:p>
      </dgm:t>
    </dgm:pt>
    <dgm:pt modelId="{3B212BE1-8B0A-400F-9302-737470E74709}" type="parTrans" cxnId="{7D609E8A-EDC1-4F9D-AD8A-04AB842FB68D}">
      <dgm:prSet/>
      <dgm:spPr/>
      <dgm:t>
        <a:bodyPr/>
        <a:lstStyle/>
        <a:p>
          <a:endParaRPr lang="pt-BR"/>
        </a:p>
      </dgm:t>
    </dgm:pt>
    <dgm:pt modelId="{4F1DD4DF-B942-469B-B77A-8CE564B17600}" type="sibTrans" cxnId="{7D609E8A-EDC1-4F9D-AD8A-04AB842FB68D}">
      <dgm:prSet/>
      <dgm:spPr/>
      <dgm:t>
        <a:bodyPr/>
        <a:lstStyle/>
        <a:p>
          <a:endParaRPr lang="pt-BR"/>
        </a:p>
      </dgm:t>
    </dgm:pt>
    <dgm:pt modelId="{83C47564-1678-4095-8EDD-0518BBB90266}" type="pres">
      <dgm:prSet presAssocID="{CE58D1A2-8558-4A4C-AAC0-4772E14B9FE1}" presName="Name0" presStyleCnt="0">
        <dgm:presLayoutVars>
          <dgm:chMax val="1"/>
          <dgm:dir/>
          <dgm:animLvl val="ctr"/>
          <dgm:resizeHandles val="exact"/>
        </dgm:presLayoutVars>
      </dgm:prSet>
      <dgm:spPr/>
    </dgm:pt>
    <dgm:pt modelId="{8EC46373-6FD2-4CC2-86F0-D5A4593F68BE}" type="pres">
      <dgm:prSet presAssocID="{5DF52880-2D68-41D7-8019-1C4B9D29CB3A}" presName="centerShape" presStyleLbl="node0" presStyleIdx="0" presStyleCnt="1"/>
      <dgm:spPr/>
    </dgm:pt>
    <dgm:pt modelId="{21242929-5672-452D-B7AE-2036EC275402}" type="pres">
      <dgm:prSet presAssocID="{2217DF53-2E70-4BC6-85C0-4D74075231F6}" presName="node" presStyleLbl="node1" presStyleIdx="0" presStyleCnt="6" custScaleX="124853" custScaleY="112961" custRadScaleRad="99590" custRadScaleInc="-1182">
        <dgm:presLayoutVars>
          <dgm:bulletEnabled val="1"/>
        </dgm:presLayoutVars>
      </dgm:prSet>
      <dgm:spPr/>
    </dgm:pt>
    <dgm:pt modelId="{F6C46CA1-4FB2-432A-9D82-AB07590C8104}" type="pres">
      <dgm:prSet presAssocID="{2217DF53-2E70-4BC6-85C0-4D74075231F6}" presName="dummy" presStyleCnt="0"/>
      <dgm:spPr/>
    </dgm:pt>
    <dgm:pt modelId="{63356109-F844-4A2B-B4D2-7ABF039B6DA8}" type="pres">
      <dgm:prSet presAssocID="{A1C107D3-3494-4892-88A2-9B5B25C714B4}" presName="sibTrans" presStyleLbl="sibTrans2D1" presStyleIdx="0" presStyleCnt="6"/>
      <dgm:spPr/>
    </dgm:pt>
    <dgm:pt modelId="{8802D8B9-A1A4-48CF-83B5-E10983780BD9}" type="pres">
      <dgm:prSet presAssocID="{AEA64726-9E90-4AC5-96CD-FBF91E60221C}" presName="node" presStyleLbl="node1" presStyleIdx="1" presStyleCnt="6" custScaleX="150871" custScaleY="118083">
        <dgm:presLayoutVars>
          <dgm:bulletEnabled val="1"/>
        </dgm:presLayoutVars>
      </dgm:prSet>
      <dgm:spPr/>
    </dgm:pt>
    <dgm:pt modelId="{393BDF32-7855-457C-B4D9-C35838155F15}" type="pres">
      <dgm:prSet presAssocID="{AEA64726-9E90-4AC5-96CD-FBF91E60221C}" presName="dummy" presStyleCnt="0"/>
      <dgm:spPr/>
    </dgm:pt>
    <dgm:pt modelId="{C95ED349-D881-4600-853F-5F1A9D13C862}" type="pres">
      <dgm:prSet presAssocID="{89469021-8838-446D-90DF-DA71E0243D47}" presName="sibTrans" presStyleLbl="sibTrans2D1" presStyleIdx="1" presStyleCnt="6"/>
      <dgm:spPr/>
    </dgm:pt>
    <dgm:pt modelId="{ED1E4A2C-F833-4E13-87C1-D53C66E70606}" type="pres">
      <dgm:prSet presAssocID="{5D65E2A8-C755-4260-932D-E747C9122C0A}" presName="node" presStyleLbl="node1" presStyleIdx="2" presStyleCnt="6" custScaleX="143912" custScaleY="122334">
        <dgm:presLayoutVars>
          <dgm:bulletEnabled val="1"/>
        </dgm:presLayoutVars>
      </dgm:prSet>
      <dgm:spPr/>
    </dgm:pt>
    <dgm:pt modelId="{D0018313-A685-444E-B51E-CADFC3817EC5}" type="pres">
      <dgm:prSet presAssocID="{5D65E2A8-C755-4260-932D-E747C9122C0A}" presName="dummy" presStyleCnt="0"/>
      <dgm:spPr/>
    </dgm:pt>
    <dgm:pt modelId="{075D86B2-43D1-4E01-8045-8737E758DDA5}" type="pres">
      <dgm:prSet presAssocID="{1CB5AAF8-F1F4-4A6F-82A7-ED5EBB5C236A}" presName="sibTrans" presStyleLbl="sibTrans2D1" presStyleIdx="2" presStyleCnt="6"/>
      <dgm:spPr/>
    </dgm:pt>
    <dgm:pt modelId="{E7D87846-DE55-402C-8BEE-6F881ADDB4E6}" type="pres">
      <dgm:prSet presAssocID="{BAD5CDE0-AAA1-49E9-8317-C932DAF81D4A}" presName="node" presStyleLbl="node1" presStyleIdx="3" presStyleCnt="6" custScaleX="137168" custScaleY="117164" custRadScaleRad="99021" custRadScaleInc="-5672">
        <dgm:presLayoutVars>
          <dgm:bulletEnabled val="1"/>
        </dgm:presLayoutVars>
      </dgm:prSet>
      <dgm:spPr/>
    </dgm:pt>
    <dgm:pt modelId="{31CFFEDF-EB92-4CE7-9E94-0E440A34982A}" type="pres">
      <dgm:prSet presAssocID="{BAD5CDE0-AAA1-49E9-8317-C932DAF81D4A}" presName="dummy" presStyleCnt="0"/>
      <dgm:spPr/>
    </dgm:pt>
    <dgm:pt modelId="{F214DA19-4F64-4978-BE4C-BC872DE12904}" type="pres">
      <dgm:prSet presAssocID="{4F1DD4DF-B942-469B-B77A-8CE564B17600}" presName="sibTrans" presStyleLbl="sibTrans2D1" presStyleIdx="3" presStyleCnt="6"/>
      <dgm:spPr/>
    </dgm:pt>
    <dgm:pt modelId="{923E8391-B2AD-4F07-9A3B-6D6B367E7CB9}" type="pres">
      <dgm:prSet presAssocID="{C2FA62A6-5E78-4C72-A7A3-3FF400763B0C}" presName="node" presStyleLbl="node1" presStyleIdx="4" presStyleCnt="6" custScaleX="136665" custScaleY="105801" custRadScaleRad="100959" custRadScaleInc="6460">
        <dgm:presLayoutVars>
          <dgm:bulletEnabled val="1"/>
        </dgm:presLayoutVars>
      </dgm:prSet>
      <dgm:spPr/>
    </dgm:pt>
    <dgm:pt modelId="{E3185B9E-AFFC-4DE6-8A54-99D92D6EE616}" type="pres">
      <dgm:prSet presAssocID="{C2FA62A6-5E78-4C72-A7A3-3FF400763B0C}" presName="dummy" presStyleCnt="0"/>
      <dgm:spPr/>
    </dgm:pt>
    <dgm:pt modelId="{41984D23-7E06-48D6-B1EE-B6BF6BB48409}" type="pres">
      <dgm:prSet presAssocID="{D0B5F1B3-7857-4C1E-B2B5-8695050FF693}" presName="sibTrans" presStyleLbl="sibTrans2D1" presStyleIdx="4" presStyleCnt="6"/>
      <dgm:spPr/>
    </dgm:pt>
    <dgm:pt modelId="{708146FE-2346-4F58-92CC-D8756DE562AC}" type="pres">
      <dgm:prSet presAssocID="{85355C90-B093-4710-A77A-F216DB7C8A7F}" presName="node" presStyleLbl="node1" presStyleIdx="5" presStyleCnt="6" custScaleX="136259" custScaleY="106227">
        <dgm:presLayoutVars>
          <dgm:bulletEnabled val="1"/>
        </dgm:presLayoutVars>
      </dgm:prSet>
      <dgm:spPr/>
    </dgm:pt>
    <dgm:pt modelId="{66259A55-24A1-4770-A595-8A929D628D25}" type="pres">
      <dgm:prSet presAssocID="{85355C90-B093-4710-A77A-F216DB7C8A7F}" presName="dummy" presStyleCnt="0"/>
      <dgm:spPr/>
    </dgm:pt>
    <dgm:pt modelId="{BF6D45AE-F64B-4904-9BB5-55A3959357C4}" type="pres">
      <dgm:prSet presAssocID="{45C22439-CDDB-42E1-8408-7894607557CA}" presName="sibTrans" presStyleLbl="sibTrans2D1" presStyleIdx="5" presStyleCnt="6"/>
      <dgm:spPr/>
    </dgm:pt>
  </dgm:ptLst>
  <dgm:cxnLst>
    <dgm:cxn modelId="{FD279303-E009-4507-8412-A28680A15B7B}" type="presOf" srcId="{5DF52880-2D68-41D7-8019-1C4B9D29CB3A}" destId="{8EC46373-6FD2-4CC2-86F0-D5A4593F68BE}" srcOrd="0" destOrd="0" presId="urn:microsoft.com/office/officeart/2005/8/layout/radial6"/>
    <dgm:cxn modelId="{FD58DD0F-BD35-485D-AD96-D9B4C91F4B69}" srcId="{CE58D1A2-8558-4A4C-AAC0-4772E14B9FE1}" destId="{5DF52880-2D68-41D7-8019-1C4B9D29CB3A}" srcOrd="0" destOrd="0" parTransId="{A2F4349B-DC42-4AFB-BC1F-2F1003AEFACD}" sibTransId="{A3E92708-1A69-4CB0-9968-2183B14B4183}"/>
    <dgm:cxn modelId="{288F9318-3B1C-4564-B05D-3C7A8418B77B}" srcId="{5DF52880-2D68-41D7-8019-1C4B9D29CB3A}" destId="{2217DF53-2E70-4BC6-85C0-4D74075231F6}" srcOrd="0" destOrd="0" parTransId="{7BD37D3D-65BB-49CD-A081-5E621B4DCA02}" sibTransId="{A1C107D3-3494-4892-88A2-9B5B25C714B4}"/>
    <dgm:cxn modelId="{9177641D-9D3F-441D-90C8-9D667E36CE04}" type="presOf" srcId="{A1C107D3-3494-4892-88A2-9B5B25C714B4}" destId="{63356109-F844-4A2B-B4D2-7ABF039B6DA8}" srcOrd="0" destOrd="0" presId="urn:microsoft.com/office/officeart/2005/8/layout/radial6"/>
    <dgm:cxn modelId="{00BBA625-B3EC-441E-9CA2-569DE7976861}" type="presOf" srcId="{4F1DD4DF-B942-469B-B77A-8CE564B17600}" destId="{F214DA19-4F64-4978-BE4C-BC872DE12904}" srcOrd="0" destOrd="0" presId="urn:microsoft.com/office/officeart/2005/8/layout/radial6"/>
    <dgm:cxn modelId="{FE9EA725-CE0F-44AC-8E00-81645FC8932E}" type="presOf" srcId="{CE58D1A2-8558-4A4C-AAC0-4772E14B9FE1}" destId="{83C47564-1678-4095-8EDD-0518BBB90266}" srcOrd="0" destOrd="0" presId="urn:microsoft.com/office/officeart/2005/8/layout/radial6"/>
    <dgm:cxn modelId="{7A03C328-E0DF-4FB1-A6FC-0871328AD972}" type="presOf" srcId="{AEA64726-9E90-4AC5-96CD-FBF91E60221C}" destId="{8802D8B9-A1A4-48CF-83B5-E10983780BD9}" srcOrd="0" destOrd="0" presId="urn:microsoft.com/office/officeart/2005/8/layout/radial6"/>
    <dgm:cxn modelId="{D10B613C-869F-4770-A76D-3A3C809EF8BB}" type="presOf" srcId="{45C22439-CDDB-42E1-8408-7894607557CA}" destId="{BF6D45AE-F64B-4904-9BB5-55A3959357C4}" srcOrd="0" destOrd="0" presId="urn:microsoft.com/office/officeart/2005/8/layout/radial6"/>
    <dgm:cxn modelId="{C78DDE60-E9EB-4D33-8068-74E840BE7D2F}" srcId="{5DF52880-2D68-41D7-8019-1C4B9D29CB3A}" destId="{AEA64726-9E90-4AC5-96CD-FBF91E60221C}" srcOrd="1" destOrd="0" parTransId="{D39F1DDD-C481-4174-A45B-C434D76CA403}" sibTransId="{89469021-8838-446D-90DF-DA71E0243D47}"/>
    <dgm:cxn modelId="{9C523B58-B85A-4D9B-A7DA-42BB13183260}" type="presOf" srcId="{D0B5F1B3-7857-4C1E-B2B5-8695050FF693}" destId="{41984D23-7E06-48D6-B1EE-B6BF6BB48409}" srcOrd="0" destOrd="0" presId="urn:microsoft.com/office/officeart/2005/8/layout/radial6"/>
    <dgm:cxn modelId="{81170D83-32F9-4731-AD8D-8FD326A7B7F8}" type="presOf" srcId="{85355C90-B093-4710-A77A-F216DB7C8A7F}" destId="{708146FE-2346-4F58-92CC-D8756DE562AC}" srcOrd="0" destOrd="0" presId="urn:microsoft.com/office/officeart/2005/8/layout/radial6"/>
    <dgm:cxn modelId="{7D609E8A-EDC1-4F9D-AD8A-04AB842FB68D}" srcId="{5DF52880-2D68-41D7-8019-1C4B9D29CB3A}" destId="{BAD5CDE0-AAA1-49E9-8317-C932DAF81D4A}" srcOrd="3" destOrd="0" parTransId="{3B212BE1-8B0A-400F-9302-737470E74709}" sibTransId="{4F1DD4DF-B942-469B-B77A-8CE564B17600}"/>
    <dgm:cxn modelId="{3519628C-6989-4017-B9DC-E437EEEFEEFC}" srcId="{5DF52880-2D68-41D7-8019-1C4B9D29CB3A}" destId="{5D65E2A8-C755-4260-932D-E747C9122C0A}" srcOrd="2" destOrd="0" parTransId="{F7E1D756-C0AB-4D4E-BE99-DDCE878AA06B}" sibTransId="{1CB5AAF8-F1F4-4A6F-82A7-ED5EBB5C236A}"/>
    <dgm:cxn modelId="{1464189B-BE19-4772-935F-44AF41FBCD99}" type="presOf" srcId="{5D65E2A8-C755-4260-932D-E747C9122C0A}" destId="{ED1E4A2C-F833-4E13-87C1-D53C66E70606}" srcOrd="0" destOrd="0" presId="urn:microsoft.com/office/officeart/2005/8/layout/radial6"/>
    <dgm:cxn modelId="{584DDFA8-552D-4051-A000-59B1FECDBF70}" type="presOf" srcId="{C2FA62A6-5E78-4C72-A7A3-3FF400763B0C}" destId="{923E8391-B2AD-4F07-9A3B-6D6B367E7CB9}" srcOrd="0" destOrd="0" presId="urn:microsoft.com/office/officeart/2005/8/layout/radial6"/>
    <dgm:cxn modelId="{675FFAB3-3F85-4DFD-8026-EB9A28969430}" type="presOf" srcId="{2217DF53-2E70-4BC6-85C0-4D74075231F6}" destId="{21242929-5672-452D-B7AE-2036EC275402}" srcOrd="0" destOrd="0" presId="urn:microsoft.com/office/officeart/2005/8/layout/radial6"/>
    <dgm:cxn modelId="{A7810FBC-126D-4BC4-9BBE-0615940A4C6B}" srcId="{5DF52880-2D68-41D7-8019-1C4B9D29CB3A}" destId="{85355C90-B093-4710-A77A-F216DB7C8A7F}" srcOrd="5" destOrd="0" parTransId="{93C1132F-496F-4A86-B096-7AA2C0087C80}" sibTransId="{45C22439-CDDB-42E1-8408-7894607557CA}"/>
    <dgm:cxn modelId="{16B81BC0-53F8-48E8-8811-2246B2EB8183}" type="presOf" srcId="{BAD5CDE0-AAA1-49E9-8317-C932DAF81D4A}" destId="{E7D87846-DE55-402C-8BEE-6F881ADDB4E6}" srcOrd="0" destOrd="0" presId="urn:microsoft.com/office/officeart/2005/8/layout/radial6"/>
    <dgm:cxn modelId="{2A39B3CD-6898-44C6-A71D-B4E36A524882}" srcId="{5DF52880-2D68-41D7-8019-1C4B9D29CB3A}" destId="{C2FA62A6-5E78-4C72-A7A3-3FF400763B0C}" srcOrd="4" destOrd="0" parTransId="{26FDCFCD-424E-49AD-B696-A8ED077E4AAF}" sibTransId="{D0B5F1B3-7857-4C1E-B2B5-8695050FF693}"/>
    <dgm:cxn modelId="{EDD8DFDA-CD08-4932-A290-6513693B853B}" type="presOf" srcId="{89469021-8838-446D-90DF-DA71E0243D47}" destId="{C95ED349-D881-4600-853F-5F1A9D13C862}" srcOrd="0" destOrd="0" presId="urn:microsoft.com/office/officeart/2005/8/layout/radial6"/>
    <dgm:cxn modelId="{00510AFD-8927-48F4-8C2C-031A6C8EE612}" type="presOf" srcId="{1CB5AAF8-F1F4-4A6F-82A7-ED5EBB5C236A}" destId="{075D86B2-43D1-4E01-8045-8737E758DDA5}" srcOrd="0" destOrd="0" presId="urn:microsoft.com/office/officeart/2005/8/layout/radial6"/>
    <dgm:cxn modelId="{0DD4CBEE-209C-409A-B0BE-06B8B2BE2CE3}" type="presParOf" srcId="{83C47564-1678-4095-8EDD-0518BBB90266}" destId="{8EC46373-6FD2-4CC2-86F0-D5A4593F68BE}" srcOrd="0" destOrd="0" presId="urn:microsoft.com/office/officeart/2005/8/layout/radial6"/>
    <dgm:cxn modelId="{CC7983D1-DFFF-4C77-8469-643CD42F0B99}" type="presParOf" srcId="{83C47564-1678-4095-8EDD-0518BBB90266}" destId="{21242929-5672-452D-B7AE-2036EC275402}" srcOrd="1" destOrd="0" presId="urn:microsoft.com/office/officeart/2005/8/layout/radial6"/>
    <dgm:cxn modelId="{5509830E-AE10-4EC5-9CD4-2A0A0319CE46}" type="presParOf" srcId="{83C47564-1678-4095-8EDD-0518BBB90266}" destId="{F6C46CA1-4FB2-432A-9D82-AB07590C8104}" srcOrd="2" destOrd="0" presId="urn:microsoft.com/office/officeart/2005/8/layout/radial6"/>
    <dgm:cxn modelId="{7B98C872-A861-4F19-A22D-2B4B36AB92E8}" type="presParOf" srcId="{83C47564-1678-4095-8EDD-0518BBB90266}" destId="{63356109-F844-4A2B-B4D2-7ABF039B6DA8}" srcOrd="3" destOrd="0" presId="urn:microsoft.com/office/officeart/2005/8/layout/radial6"/>
    <dgm:cxn modelId="{9382E5CA-0786-4D59-B5DC-B889546881A0}" type="presParOf" srcId="{83C47564-1678-4095-8EDD-0518BBB90266}" destId="{8802D8B9-A1A4-48CF-83B5-E10983780BD9}" srcOrd="4" destOrd="0" presId="urn:microsoft.com/office/officeart/2005/8/layout/radial6"/>
    <dgm:cxn modelId="{9CC98DF3-AAC2-44EC-A0D0-45DA15A686F0}" type="presParOf" srcId="{83C47564-1678-4095-8EDD-0518BBB90266}" destId="{393BDF32-7855-457C-B4D9-C35838155F15}" srcOrd="5" destOrd="0" presId="urn:microsoft.com/office/officeart/2005/8/layout/radial6"/>
    <dgm:cxn modelId="{30AF484B-86AB-4E46-8D40-ECF9FBAD7621}" type="presParOf" srcId="{83C47564-1678-4095-8EDD-0518BBB90266}" destId="{C95ED349-D881-4600-853F-5F1A9D13C862}" srcOrd="6" destOrd="0" presId="urn:microsoft.com/office/officeart/2005/8/layout/radial6"/>
    <dgm:cxn modelId="{F6746EA4-7786-4BB9-BC34-56403DA1074C}" type="presParOf" srcId="{83C47564-1678-4095-8EDD-0518BBB90266}" destId="{ED1E4A2C-F833-4E13-87C1-D53C66E70606}" srcOrd="7" destOrd="0" presId="urn:microsoft.com/office/officeart/2005/8/layout/radial6"/>
    <dgm:cxn modelId="{948ED769-A704-4CAC-82A7-5313471DF453}" type="presParOf" srcId="{83C47564-1678-4095-8EDD-0518BBB90266}" destId="{D0018313-A685-444E-B51E-CADFC3817EC5}" srcOrd="8" destOrd="0" presId="urn:microsoft.com/office/officeart/2005/8/layout/radial6"/>
    <dgm:cxn modelId="{387999DB-0BEA-44D2-8905-C4BF7B447507}" type="presParOf" srcId="{83C47564-1678-4095-8EDD-0518BBB90266}" destId="{075D86B2-43D1-4E01-8045-8737E758DDA5}" srcOrd="9" destOrd="0" presId="urn:microsoft.com/office/officeart/2005/8/layout/radial6"/>
    <dgm:cxn modelId="{E853D185-71CF-4165-B7FF-5E7549F89566}" type="presParOf" srcId="{83C47564-1678-4095-8EDD-0518BBB90266}" destId="{E7D87846-DE55-402C-8BEE-6F881ADDB4E6}" srcOrd="10" destOrd="0" presId="urn:microsoft.com/office/officeart/2005/8/layout/radial6"/>
    <dgm:cxn modelId="{124D9282-DA4D-46D6-8DB7-41622FC741EB}" type="presParOf" srcId="{83C47564-1678-4095-8EDD-0518BBB90266}" destId="{31CFFEDF-EB92-4CE7-9E94-0E440A34982A}" srcOrd="11" destOrd="0" presId="urn:microsoft.com/office/officeart/2005/8/layout/radial6"/>
    <dgm:cxn modelId="{DDEF4748-C107-46F4-9FAE-F2079351DFFA}" type="presParOf" srcId="{83C47564-1678-4095-8EDD-0518BBB90266}" destId="{F214DA19-4F64-4978-BE4C-BC872DE12904}" srcOrd="12" destOrd="0" presId="urn:microsoft.com/office/officeart/2005/8/layout/radial6"/>
    <dgm:cxn modelId="{D1E0B8C4-6170-408D-8EA3-BFC0CBCC28FC}" type="presParOf" srcId="{83C47564-1678-4095-8EDD-0518BBB90266}" destId="{923E8391-B2AD-4F07-9A3B-6D6B367E7CB9}" srcOrd="13" destOrd="0" presId="urn:microsoft.com/office/officeart/2005/8/layout/radial6"/>
    <dgm:cxn modelId="{78DC589F-2D26-41E2-BF58-F9EA5EE0733D}" type="presParOf" srcId="{83C47564-1678-4095-8EDD-0518BBB90266}" destId="{E3185B9E-AFFC-4DE6-8A54-99D92D6EE616}" srcOrd="14" destOrd="0" presId="urn:microsoft.com/office/officeart/2005/8/layout/radial6"/>
    <dgm:cxn modelId="{7EB8316E-B13A-44EE-A400-2C9F0D0C8AD0}" type="presParOf" srcId="{83C47564-1678-4095-8EDD-0518BBB90266}" destId="{41984D23-7E06-48D6-B1EE-B6BF6BB48409}" srcOrd="15" destOrd="0" presId="urn:microsoft.com/office/officeart/2005/8/layout/radial6"/>
    <dgm:cxn modelId="{4DB352B3-2173-4375-BC74-2FC285D9D995}" type="presParOf" srcId="{83C47564-1678-4095-8EDD-0518BBB90266}" destId="{708146FE-2346-4F58-92CC-D8756DE562AC}" srcOrd="16" destOrd="0" presId="urn:microsoft.com/office/officeart/2005/8/layout/radial6"/>
    <dgm:cxn modelId="{5BCE3331-4DBD-4F0B-9420-2653385AB89B}" type="presParOf" srcId="{83C47564-1678-4095-8EDD-0518BBB90266}" destId="{66259A55-24A1-4770-A595-8A929D628D25}" srcOrd="17" destOrd="0" presId="urn:microsoft.com/office/officeart/2005/8/layout/radial6"/>
    <dgm:cxn modelId="{7FA4B715-ABB0-4825-8C78-02FB8164FDCC}" type="presParOf" srcId="{83C47564-1678-4095-8EDD-0518BBB90266}" destId="{BF6D45AE-F64B-4904-9BB5-55A3959357C4}" srcOrd="18"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572AF03-C56B-45CC-BDA1-8A8F74ECA228}"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pt-BR"/>
        </a:p>
      </dgm:t>
    </dgm:pt>
    <dgm:pt modelId="{4D4581AA-87C3-400C-BEF9-C36168803820}">
      <dgm:prSet phldrT="[Texto]" custT="1"/>
      <dgm:spPr/>
      <dgm:t>
        <a:bodyPr/>
        <a:lstStyle/>
        <a:p>
          <a:r>
            <a:rPr lang="pt-BR" sz="1800" b="1" dirty="0">
              <a:solidFill>
                <a:schemeClr val="tx1"/>
              </a:solidFill>
            </a:rPr>
            <a:t>Articule programas com a política</a:t>
          </a:r>
        </a:p>
      </dgm:t>
    </dgm:pt>
    <dgm:pt modelId="{7CBBC87A-C80C-4098-B06F-428AFB86E55F}" type="parTrans" cxnId="{57094C81-B414-4395-8061-87889A69FF1F}">
      <dgm:prSet/>
      <dgm:spPr/>
      <dgm:t>
        <a:bodyPr/>
        <a:lstStyle/>
        <a:p>
          <a:endParaRPr lang="pt-BR"/>
        </a:p>
      </dgm:t>
    </dgm:pt>
    <dgm:pt modelId="{E8EA1DE4-995F-4568-B5F7-791BBA87448C}" type="sibTrans" cxnId="{57094C81-B414-4395-8061-87889A69FF1F}">
      <dgm:prSet/>
      <dgm:spPr/>
      <dgm:t>
        <a:bodyPr/>
        <a:lstStyle/>
        <a:p>
          <a:endParaRPr lang="pt-BR"/>
        </a:p>
      </dgm:t>
    </dgm:pt>
    <dgm:pt modelId="{8024C5ED-AA2A-4A9F-984C-4899B9498754}">
      <dgm:prSet phldrT="[Texto]" custT="1"/>
      <dgm:spPr/>
      <dgm:t>
        <a:bodyPr/>
        <a:lstStyle/>
        <a:p>
          <a:r>
            <a:rPr lang="pt-BR" sz="1800" b="1" dirty="0">
              <a:solidFill>
                <a:schemeClr val="tx1"/>
              </a:solidFill>
            </a:rPr>
            <a:t>Utilize a tecnologia como uma alavanca para mudança</a:t>
          </a:r>
        </a:p>
      </dgm:t>
    </dgm:pt>
    <dgm:pt modelId="{C7CA691A-C4C6-4DB0-9ED5-8F562965540D}" type="parTrans" cxnId="{F4D5B53E-FF1D-438F-B751-D8EC35D97A99}">
      <dgm:prSet/>
      <dgm:spPr/>
      <dgm:t>
        <a:bodyPr/>
        <a:lstStyle/>
        <a:p>
          <a:endParaRPr lang="pt-BR"/>
        </a:p>
      </dgm:t>
    </dgm:pt>
    <dgm:pt modelId="{87C672E8-B895-4950-8CF5-CEA485B536B2}" type="sibTrans" cxnId="{F4D5B53E-FF1D-438F-B751-D8EC35D97A99}">
      <dgm:prSet/>
      <dgm:spPr/>
      <dgm:t>
        <a:bodyPr/>
        <a:lstStyle/>
        <a:p>
          <a:endParaRPr lang="pt-BR"/>
        </a:p>
      </dgm:t>
    </dgm:pt>
    <dgm:pt modelId="{05214F77-301C-49A6-A7EF-904E577A2EB7}">
      <dgm:prSet phldrT="[Texto]" custT="1"/>
      <dgm:spPr/>
      <dgm:t>
        <a:bodyPr/>
        <a:lstStyle/>
        <a:p>
          <a:r>
            <a:rPr lang="pt-BR" sz="1800" b="1" dirty="0">
              <a:solidFill>
                <a:schemeClr val="tx1"/>
              </a:solidFill>
            </a:rPr>
            <a:t>Capacite todos os atores</a:t>
          </a:r>
        </a:p>
      </dgm:t>
    </dgm:pt>
    <dgm:pt modelId="{39530927-0EDF-4E4C-B2F8-DE902D343ACE}" type="parTrans" cxnId="{42D427FE-BE86-4883-BB15-3649438CFCB3}">
      <dgm:prSet/>
      <dgm:spPr/>
      <dgm:t>
        <a:bodyPr/>
        <a:lstStyle/>
        <a:p>
          <a:endParaRPr lang="pt-BR"/>
        </a:p>
      </dgm:t>
    </dgm:pt>
    <dgm:pt modelId="{FCCF2753-383B-42EB-B5AE-6EB6513C8A34}" type="sibTrans" cxnId="{42D427FE-BE86-4883-BB15-3649438CFCB3}">
      <dgm:prSet/>
      <dgm:spPr/>
      <dgm:t>
        <a:bodyPr/>
        <a:lstStyle/>
        <a:p>
          <a:endParaRPr lang="pt-BR"/>
        </a:p>
      </dgm:t>
    </dgm:pt>
    <dgm:pt modelId="{230A603D-8328-4560-BC47-F7DA23CEB131}">
      <dgm:prSet custT="1"/>
      <dgm:spPr/>
      <dgm:t>
        <a:bodyPr/>
        <a:lstStyle/>
        <a:p>
          <a:r>
            <a:rPr lang="pt-BR" sz="1800" b="1" dirty="0">
              <a:solidFill>
                <a:schemeClr val="tx1"/>
              </a:solidFill>
            </a:rPr>
            <a:t>Planeje uma trajetória </a:t>
          </a:r>
        </a:p>
      </dgm:t>
    </dgm:pt>
    <dgm:pt modelId="{B4A8A27E-D1CB-4815-8FA9-DFD00993BEF3}" type="parTrans" cxnId="{46641FE5-7A1A-4B7A-BD2D-30ED4047D408}">
      <dgm:prSet/>
      <dgm:spPr/>
      <dgm:t>
        <a:bodyPr/>
        <a:lstStyle/>
        <a:p>
          <a:endParaRPr lang="pt-BR"/>
        </a:p>
      </dgm:t>
    </dgm:pt>
    <dgm:pt modelId="{FBF66E0D-FEF2-415C-AD8C-40AAF93AF465}" type="sibTrans" cxnId="{46641FE5-7A1A-4B7A-BD2D-30ED4047D408}">
      <dgm:prSet/>
      <dgm:spPr/>
      <dgm:t>
        <a:bodyPr/>
        <a:lstStyle/>
        <a:p>
          <a:endParaRPr lang="pt-BR"/>
        </a:p>
      </dgm:t>
    </dgm:pt>
    <dgm:pt modelId="{5E5D01B0-441C-485C-BFFA-5581E6016B8C}">
      <dgm:prSet custT="1"/>
      <dgm:spPr/>
      <dgm:t>
        <a:bodyPr/>
        <a:lstStyle/>
        <a:p>
          <a:r>
            <a:rPr lang="pt-BR" sz="1800" b="1" dirty="0">
              <a:solidFill>
                <a:schemeClr val="tx1"/>
              </a:solidFill>
            </a:rPr>
            <a:t>Construa parcerias</a:t>
          </a:r>
        </a:p>
      </dgm:t>
    </dgm:pt>
    <dgm:pt modelId="{796787A4-ECC9-4595-80CA-8D044AF2D1BC}" type="sibTrans" cxnId="{D15F0363-1BDD-4712-BB69-B5391A94C95A}">
      <dgm:prSet/>
      <dgm:spPr/>
      <dgm:t>
        <a:bodyPr/>
        <a:lstStyle/>
        <a:p>
          <a:endParaRPr lang="pt-BR"/>
        </a:p>
      </dgm:t>
    </dgm:pt>
    <dgm:pt modelId="{FFCFA8AF-703B-4992-97D3-0DA2CA837C06}" type="parTrans" cxnId="{D15F0363-1BDD-4712-BB69-B5391A94C95A}">
      <dgm:prSet/>
      <dgm:spPr/>
      <dgm:t>
        <a:bodyPr/>
        <a:lstStyle/>
        <a:p>
          <a:endParaRPr lang="pt-BR"/>
        </a:p>
      </dgm:t>
    </dgm:pt>
    <dgm:pt modelId="{9F28DDFE-B0D9-4ACD-95AD-F9CC2A2F21F0}">
      <dgm:prSet phldrT="[Texto]" custT="1"/>
      <dgm:spPr/>
      <dgm:t>
        <a:bodyPr/>
        <a:lstStyle/>
        <a:p>
          <a:endParaRPr lang="pt-BR" sz="1400" b="1" dirty="0">
            <a:solidFill>
              <a:schemeClr val="tx1"/>
            </a:solidFill>
          </a:endParaRPr>
        </a:p>
      </dgm:t>
    </dgm:pt>
    <dgm:pt modelId="{5F6EF9F4-052B-468E-BE8A-35417470B267}" type="parTrans" cxnId="{D6877ADF-4443-4AD5-BFD9-4A381EE5F8A6}">
      <dgm:prSet/>
      <dgm:spPr/>
      <dgm:t>
        <a:bodyPr/>
        <a:lstStyle/>
        <a:p>
          <a:endParaRPr lang="pt-BR"/>
        </a:p>
      </dgm:t>
    </dgm:pt>
    <dgm:pt modelId="{93F170D0-62B4-4CA5-BEFE-B052D48A5B42}" type="sibTrans" cxnId="{D6877ADF-4443-4AD5-BFD9-4A381EE5F8A6}">
      <dgm:prSet/>
      <dgm:spPr/>
      <dgm:t>
        <a:bodyPr/>
        <a:lstStyle/>
        <a:p>
          <a:endParaRPr lang="pt-BR"/>
        </a:p>
      </dgm:t>
    </dgm:pt>
    <dgm:pt modelId="{E46E8F2B-B9C1-4206-B04C-E09271583D2E}">
      <dgm:prSet custT="1"/>
      <dgm:spPr/>
      <dgm:t>
        <a:bodyPr/>
        <a:lstStyle/>
        <a:p>
          <a:r>
            <a:rPr lang="pt-BR" sz="1800" b="1" dirty="0">
              <a:solidFill>
                <a:schemeClr val="tx1"/>
              </a:solidFill>
            </a:rPr>
            <a:t>Assegure os recursos</a:t>
          </a:r>
        </a:p>
      </dgm:t>
    </dgm:pt>
    <dgm:pt modelId="{684BC17B-B21F-4932-9915-C3F3C4DA3A9D}" type="parTrans" cxnId="{F4D21565-C9FF-456A-AC43-82D827913A82}">
      <dgm:prSet/>
      <dgm:spPr/>
      <dgm:t>
        <a:bodyPr/>
        <a:lstStyle/>
        <a:p>
          <a:endParaRPr lang="pt-BR"/>
        </a:p>
      </dgm:t>
    </dgm:pt>
    <dgm:pt modelId="{A4FE43C8-7282-42AD-80EB-974B12B45616}" type="sibTrans" cxnId="{F4D21565-C9FF-456A-AC43-82D827913A82}">
      <dgm:prSet/>
      <dgm:spPr/>
      <dgm:t>
        <a:bodyPr/>
        <a:lstStyle/>
        <a:p>
          <a:endParaRPr lang="pt-BR"/>
        </a:p>
      </dgm:t>
    </dgm:pt>
    <dgm:pt modelId="{240155AB-5A5A-4C60-A132-837931CE0B22}">
      <dgm:prSet custT="1"/>
      <dgm:spPr/>
      <dgm:t>
        <a:bodyPr/>
        <a:lstStyle/>
        <a:p>
          <a:r>
            <a:rPr lang="pt-BR" sz="1800" b="1" dirty="0">
              <a:solidFill>
                <a:schemeClr val="tx1"/>
              </a:solidFill>
            </a:rPr>
            <a:t>Monitore e avalie</a:t>
          </a:r>
        </a:p>
      </dgm:t>
    </dgm:pt>
    <dgm:pt modelId="{D12F7FC2-2AC6-4728-A822-6CE8D40B390E}" type="parTrans" cxnId="{5F696B41-95C9-4D19-B48C-95135E3CA712}">
      <dgm:prSet/>
      <dgm:spPr/>
      <dgm:t>
        <a:bodyPr/>
        <a:lstStyle/>
        <a:p>
          <a:endParaRPr lang="pt-BR"/>
        </a:p>
      </dgm:t>
    </dgm:pt>
    <dgm:pt modelId="{0954B608-A37D-4749-977D-51F55C3E4959}" type="sibTrans" cxnId="{5F696B41-95C9-4D19-B48C-95135E3CA712}">
      <dgm:prSet/>
      <dgm:spPr/>
      <dgm:t>
        <a:bodyPr/>
        <a:lstStyle/>
        <a:p>
          <a:endParaRPr lang="pt-BR"/>
        </a:p>
      </dgm:t>
    </dgm:pt>
    <dgm:pt modelId="{60FECEE2-5B70-4D7F-8D87-224968A41F9E}" type="pres">
      <dgm:prSet presAssocID="{0572AF03-C56B-45CC-BDA1-8A8F74ECA228}" presName="diagram" presStyleCnt="0">
        <dgm:presLayoutVars>
          <dgm:dir/>
          <dgm:resizeHandles val="exact"/>
        </dgm:presLayoutVars>
      </dgm:prSet>
      <dgm:spPr/>
    </dgm:pt>
    <dgm:pt modelId="{A5FFF2E6-A2B2-4BCD-8EFA-499CE33AA821}" type="pres">
      <dgm:prSet presAssocID="{9F28DDFE-B0D9-4ACD-95AD-F9CC2A2F21F0}" presName="node" presStyleLbl="node1" presStyleIdx="0" presStyleCnt="8">
        <dgm:presLayoutVars>
          <dgm:bulletEnabled val="1"/>
        </dgm:presLayoutVars>
      </dgm:prSet>
      <dgm:spPr/>
    </dgm:pt>
    <dgm:pt modelId="{25D74E92-9F92-42E3-BF78-3FD5615D0BE8}" type="pres">
      <dgm:prSet presAssocID="{93F170D0-62B4-4CA5-BEFE-B052D48A5B42}" presName="sibTrans" presStyleCnt="0"/>
      <dgm:spPr/>
    </dgm:pt>
    <dgm:pt modelId="{AC140305-5F4F-49FD-B9C5-9E4385F9FA25}" type="pres">
      <dgm:prSet presAssocID="{4D4581AA-87C3-400C-BEF9-C36168803820}" presName="node" presStyleLbl="node1" presStyleIdx="1" presStyleCnt="8">
        <dgm:presLayoutVars>
          <dgm:bulletEnabled val="1"/>
        </dgm:presLayoutVars>
      </dgm:prSet>
      <dgm:spPr/>
    </dgm:pt>
    <dgm:pt modelId="{1D133626-5F62-4DAF-9182-72CFB67F714C}" type="pres">
      <dgm:prSet presAssocID="{E8EA1DE4-995F-4568-B5F7-791BBA87448C}" presName="sibTrans" presStyleCnt="0"/>
      <dgm:spPr/>
    </dgm:pt>
    <dgm:pt modelId="{FE2EBE1D-F531-4D6B-9612-4B4B53CC55F6}" type="pres">
      <dgm:prSet presAssocID="{8024C5ED-AA2A-4A9F-984C-4899B9498754}" presName="node" presStyleLbl="node1" presStyleIdx="2" presStyleCnt="8">
        <dgm:presLayoutVars>
          <dgm:bulletEnabled val="1"/>
        </dgm:presLayoutVars>
      </dgm:prSet>
      <dgm:spPr/>
    </dgm:pt>
    <dgm:pt modelId="{D73CBD5B-C066-4B75-B87F-ACE8D0D2728F}" type="pres">
      <dgm:prSet presAssocID="{87C672E8-B895-4950-8CF5-CEA485B536B2}" presName="sibTrans" presStyleCnt="0"/>
      <dgm:spPr/>
    </dgm:pt>
    <dgm:pt modelId="{A49B5C52-E063-4C2C-83ED-64B6153A37AD}" type="pres">
      <dgm:prSet presAssocID="{230A603D-8328-4560-BC47-F7DA23CEB131}" presName="node" presStyleLbl="node1" presStyleIdx="3" presStyleCnt="8">
        <dgm:presLayoutVars>
          <dgm:bulletEnabled val="1"/>
        </dgm:presLayoutVars>
      </dgm:prSet>
      <dgm:spPr/>
    </dgm:pt>
    <dgm:pt modelId="{3A94C347-A950-4160-8D91-19EEDA8E0364}" type="pres">
      <dgm:prSet presAssocID="{FBF66E0D-FEF2-415C-AD8C-40AAF93AF465}" presName="sibTrans" presStyleCnt="0"/>
      <dgm:spPr/>
    </dgm:pt>
    <dgm:pt modelId="{15B35D14-9AD5-41E5-9E6C-32F86F4AF295}" type="pres">
      <dgm:prSet presAssocID="{05214F77-301C-49A6-A7EF-904E577A2EB7}" presName="node" presStyleLbl="node1" presStyleIdx="4" presStyleCnt="8">
        <dgm:presLayoutVars>
          <dgm:bulletEnabled val="1"/>
        </dgm:presLayoutVars>
      </dgm:prSet>
      <dgm:spPr/>
    </dgm:pt>
    <dgm:pt modelId="{C2CD9F3A-6386-4A8C-9C44-0CFA9EFCD4A3}" type="pres">
      <dgm:prSet presAssocID="{FCCF2753-383B-42EB-B5AE-6EB6513C8A34}" presName="sibTrans" presStyleCnt="0"/>
      <dgm:spPr/>
    </dgm:pt>
    <dgm:pt modelId="{404C4E11-5EB2-478C-B2CD-66E31D26A666}" type="pres">
      <dgm:prSet presAssocID="{5E5D01B0-441C-485C-BFFA-5581E6016B8C}" presName="node" presStyleLbl="node1" presStyleIdx="5" presStyleCnt="8">
        <dgm:presLayoutVars>
          <dgm:bulletEnabled val="1"/>
        </dgm:presLayoutVars>
      </dgm:prSet>
      <dgm:spPr/>
    </dgm:pt>
    <dgm:pt modelId="{05CE4747-7110-4D03-9F54-39C5DB7CEEEF}" type="pres">
      <dgm:prSet presAssocID="{796787A4-ECC9-4595-80CA-8D044AF2D1BC}" presName="sibTrans" presStyleCnt="0"/>
      <dgm:spPr/>
    </dgm:pt>
    <dgm:pt modelId="{D2F2C50A-669A-486F-8B14-55C0DBBF5657}" type="pres">
      <dgm:prSet presAssocID="{E46E8F2B-B9C1-4206-B04C-E09271583D2E}" presName="node" presStyleLbl="node1" presStyleIdx="6" presStyleCnt="8">
        <dgm:presLayoutVars>
          <dgm:bulletEnabled val="1"/>
        </dgm:presLayoutVars>
      </dgm:prSet>
      <dgm:spPr/>
    </dgm:pt>
    <dgm:pt modelId="{50B4D000-AB47-4DE1-96D9-24864B2B1D00}" type="pres">
      <dgm:prSet presAssocID="{A4FE43C8-7282-42AD-80EB-974B12B45616}" presName="sibTrans" presStyleCnt="0"/>
      <dgm:spPr/>
    </dgm:pt>
    <dgm:pt modelId="{0AC08E4C-65A0-4AD7-8633-2B315851E0C8}" type="pres">
      <dgm:prSet presAssocID="{240155AB-5A5A-4C60-A132-837931CE0B22}" presName="node" presStyleLbl="node1" presStyleIdx="7" presStyleCnt="8">
        <dgm:presLayoutVars>
          <dgm:bulletEnabled val="1"/>
        </dgm:presLayoutVars>
      </dgm:prSet>
      <dgm:spPr/>
    </dgm:pt>
  </dgm:ptLst>
  <dgm:cxnLst>
    <dgm:cxn modelId="{55813F22-5139-4DB0-A061-F280110A6D94}" type="presOf" srcId="{0572AF03-C56B-45CC-BDA1-8A8F74ECA228}" destId="{60FECEE2-5B70-4D7F-8D87-224968A41F9E}" srcOrd="0" destOrd="0" presId="urn:microsoft.com/office/officeart/2005/8/layout/default"/>
    <dgm:cxn modelId="{20AD2D28-D43F-4F13-A96A-B9B949819784}" type="presOf" srcId="{9F28DDFE-B0D9-4ACD-95AD-F9CC2A2F21F0}" destId="{A5FFF2E6-A2B2-4BCD-8EFA-499CE33AA821}" srcOrd="0" destOrd="0" presId="urn:microsoft.com/office/officeart/2005/8/layout/default"/>
    <dgm:cxn modelId="{F4D5B53E-FF1D-438F-B751-D8EC35D97A99}" srcId="{0572AF03-C56B-45CC-BDA1-8A8F74ECA228}" destId="{8024C5ED-AA2A-4A9F-984C-4899B9498754}" srcOrd="2" destOrd="0" parTransId="{C7CA691A-C4C6-4DB0-9ED5-8F562965540D}" sibTransId="{87C672E8-B895-4950-8CF5-CEA485B536B2}"/>
    <dgm:cxn modelId="{5F696B41-95C9-4D19-B48C-95135E3CA712}" srcId="{0572AF03-C56B-45CC-BDA1-8A8F74ECA228}" destId="{240155AB-5A5A-4C60-A132-837931CE0B22}" srcOrd="7" destOrd="0" parTransId="{D12F7FC2-2AC6-4728-A822-6CE8D40B390E}" sibTransId="{0954B608-A37D-4749-977D-51F55C3E4959}"/>
    <dgm:cxn modelId="{D15F0363-1BDD-4712-BB69-B5391A94C95A}" srcId="{0572AF03-C56B-45CC-BDA1-8A8F74ECA228}" destId="{5E5D01B0-441C-485C-BFFA-5581E6016B8C}" srcOrd="5" destOrd="0" parTransId="{FFCFA8AF-703B-4992-97D3-0DA2CA837C06}" sibTransId="{796787A4-ECC9-4595-80CA-8D044AF2D1BC}"/>
    <dgm:cxn modelId="{F4D21565-C9FF-456A-AC43-82D827913A82}" srcId="{0572AF03-C56B-45CC-BDA1-8A8F74ECA228}" destId="{E46E8F2B-B9C1-4206-B04C-E09271583D2E}" srcOrd="6" destOrd="0" parTransId="{684BC17B-B21F-4932-9915-C3F3C4DA3A9D}" sibTransId="{A4FE43C8-7282-42AD-80EB-974B12B45616}"/>
    <dgm:cxn modelId="{3739307A-7FFF-48D5-AA71-8217D32466C9}" type="presOf" srcId="{05214F77-301C-49A6-A7EF-904E577A2EB7}" destId="{15B35D14-9AD5-41E5-9E6C-32F86F4AF295}" srcOrd="0" destOrd="0" presId="urn:microsoft.com/office/officeart/2005/8/layout/default"/>
    <dgm:cxn modelId="{4D3E787A-16F2-49EE-AA25-B34B14B9B807}" type="presOf" srcId="{230A603D-8328-4560-BC47-F7DA23CEB131}" destId="{A49B5C52-E063-4C2C-83ED-64B6153A37AD}" srcOrd="0" destOrd="0" presId="urn:microsoft.com/office/officeart/2005/8/layout/default"/>
    <dgm:cxn modelId="{57094C81-B414-4395-8061-87889A69FF1F}" srcId="{0572AF03-C56B-45CC-BDA1-8A8F74ECA228}" destId="{4D4581AA-87C3-400C-BEF9-C36168803820}" srcOrd="1" destOrd="0" parTransId="{7CBBC87A-C80C-4098-B06F-428AFB86E55F}" sibTransId="{E8EA1DE4-995F-4568-B5F7-791BBA87448C}"/>
    <dgm:cxn modelId="{1426F5BC-4D3D-4898-A7CA-4092A21FA598}" type="presOf" srcId="{240155AB-5A5A-4C60-A132-837931CE0B22}" destId="{0AC08E4C-65A0-4AD7-8633-2B315851E0C8}" srcOrd="0" destOrd="0" presId="urn:microsoft.com/office/officeart/2005/8/layout/default"/>
    <dgm:cxn modelId="{8A37A2C2-0127-4931-8DDC-D66025E36BF9}" type="presOf" srcId="{E46E8F2B-B9C1-4206-B04C-E09271583D2E}" destId="{D2F2C50A-669A-486F-8B14-55C0DBBF5657}" srcOrd="0" destOrd="0" presId="urn:microsoft.com/office/officeart/2005/8/layout/default"/>
    <dgm:cxn modelId="{D6877ADF-4443-4AD5-BFD9-4A381EE5F8A6}" srcId="{0572AF03-C56B-45CC-BDA1-8A8F74ECA228}" destId="{9F28DDFE-B0D9-4ACD-95AD-F9CC2A2F21F0}" srcOrd="0" destOrd="0" parTransId="{5F6EF9F4-052B-468E-BE8A-35417470B267}" sibTransId="{93F170D0-62B4-4CA5-BEFE-B052D48A5B42}"/>
    <dgm:cxn modelId="{F2635EE2-62D0-4EF0-97C2-EC8532449D2D}" type="presOf" srcId="{4D4581AA-87C3-400C-BEF9-C36168803820}" destId="{AC140305-5F4F-49FD-B9C5-9E4385F9FA25}" srcOrd="0" destOrd="0" presId="urn:microsoft.com/office/officeart/2005/8/layout/default"/>
    <dgm:cxn modelId="{46641FE5-7A1A-4B7A-BD2D-30ED4047D408}" srcId="{0572AF03-C56B-45CC-BDA1-8A8F74ECA228}" destId="{230A603D-8328-4560-BC47-F7DA23CEB131}" srcOrd="3" destOrd="0" parTransId="{B4A8A27E-D1CB-4815-8FA9-DFD00993BEF3}" sibTransId="{FBF66E0D-FEF2-415C-AD8C-40AAF93AF465}"/>
    <dgm:cxn modelId="{5D967FFB-F26E-4222-9023-69D25217BF2D}" type="presOf" srcId="{8024C5ED-AA2A-4A9F-984C-4899B9498754}" destId="{FE2EBE1D-F531-4D6B-9612-4B4B53CC55F6}" srcOrd="0" destOrd="0" presId="urn:microsoft.com/office/officeart/2005/8/layout/default"/>
    <dgm:cxn modelId="{63A425FD-E0B2-4EF3-86FF-1C3365D199A8}" type="presOf" srcId="{5E5D01B0-441C-485C-BFFA-5581E6016B8C}" destId="{404C4E11-5EB2-478C-B2CD-66E31D26A666}" srcOrd="0" destOrd="0" presId="urn:microsoft.com/office/officeart/2005/8/layout/default"/>
    <dgm:cxn modelId="{42D427FE-BE86-4883-BB15-3649438CFCB3}" srcId="{0572AF03-C56B-45CC-BDA1-8A8F74ECA228}" destId="{05214F77-301C-49A6-A7EF-904E577A2EB7}" srcOrd="4" destOrd="0" parTransId="{39530927-0EDF-4E4C-B2F8-DE902D343ACE}" sibTransId="{FCCF2753-383B-42EB-B5AE-6EB6513C8A34}"/>
    <dgm:cxn modelId="{1120112C-B0E5-44B7-AD02-D42C5C6D9987}" type="presParOf" srcId="{60FECEE2-5B70-4D7F-8D87-224968A41F9E}" destId="{A5FFF2E6-A2B2-4BCD-8EFA-499CE33AA821}" srcOrd="0" destOrd="0" presId="urn:microsoft.com/office/officeart/2005/8/layout/default"/>
    <dgm:cxn modelId="{2C0FCDE8-10F1-4A62-823A-16F2F801E60C}" type="presParOf" srcId="{60FECEE2-5B70-4D7F-8D87-224968A41F9E}" destId="{25D74E92-9F92-42E3-BF78-3FD5615D0BE8}" srcOrd="1" destOrd="0" presId="urn:microsoft.com/office/officeart/2005/8/layout/default"/>
    <dgm:cxn modelId="{8DE006BE-AF0A-422C-B25C-ED6C8CA04B23}" type="presParOf" srcId="{60FECEE2-5B70-4D7F-8D87-224968A41F9E}" destId="{AC140305-5F4F-49FD-B9C5-9E4385F9FA25}" srcOrd="2" destOrd="0" presId="urn:microsoft.com/office/officeart/2005/8/layout/default"/>
    <dgm:cxn modelId="{5D109610-F267-4B73-9402-83A55F61345E}" type="presParOf" srcId="{60FECEE2-5B70-4D7F-8D87-224968A41F9E}" destId="{1D133626-5F62-4DAF-9182-72CFB67F714C}" srcOrd="3" destOrd="0" presId="urn:microsoft.com/office/officeart/2005/8/layout/default"/>
    <dgm:cxn modelId="{A142E4C7-AFD5-43CA-A84D-46C24623A4FF}" type="presParOf" srcId="{60FECEE2-5B70-4D7F-8D87-224968A41F9E}" destId="{FE2EBE1D-F531-4D6B-9612-4B4B53CC55F6}" srcOrd="4" destOrd="0" presId="urn:microsoft.com/office/officeart/2005/8/layout/default"/>
    <dgm:cxn modelId="{7F71C489-C1C2-448C-BF3B-875CD7838D06}" type="presParOf" srcId="{60FECEE2-5B70-4D7F-8D87-224968A41F9E}" destId="{D73CBD5B-C066-4B75-B87F-ACE8D0D2728F}" srcOrd="5" destOrd="0" presId="urn:microsoft.com/office/officeart/2005/8/layout/default"/>
    <dgm:cxn modelId="{FB033639-C9A7-47B6-B0CB-234F454ADA7B}" type="presParOf" srcId="{60FECEE2-5B70-4D7F-8D87-224968A41F9E}" destId="{A49B5C52-E063-4C2C-83ED-64B6153A37AD}" srcOrd="6" destOrd="0" presId="urn:microsoft.com/office/officeart/2005/8/layout/default"/>
    <dgm:cxn modelId="{F4FFAC38-316C-45D4-99F6-7A60A949FF2A}" type="presParOf" srcId="{60FECEE2-5B70-4D7F-8D87-224968A41F9E}" destId="{3A94C347-A950-4160-8D91-19EEDA8E0364}" srcOrd="7" destOrd="0" presId="urn:microsoft.com/office/officeart/2005/8/layout/default"/>
    <dgm:cxn modelId="{B7BC53D3-431A-4422-9FFF-6FBE56491F4E}" type="presParOf" srcId="{60FECEE2-5B70-4D7F-8D87-224968A41F9E}" destId="{15B35D14-9AD5-41E5-9E6C-32F86F4AF295}" srcOrd="8" destOrd="0" presId="urn:microsoft.com/office/officeart/2005/8/layout/default"/>
    <dgm:cxn modelId="{CA5728E4-B9E2-4687-9E1B-DDD427DEDBA6}" type="presParOf" srcId="{60FECEE2-5B70-4D7F-8D87-224968A41F9E}" destId="{C2CD9F3A-6386-4A8C-9C44-0CFA9EFCD4A3}" srcOrd="9" destOrd="0" presId="urn:microsoft.com/office/officeart/2005/8/layout/default"/>
    <dgm:cxn modelId="{855DC60A-CE90-4806-A70D-C142B03BC9D7}" type="presParOf" srcId="{60FECEE2-5B70-4D7F-8D87-224968A41F9E}" destId="{404C4E11-5EB2-478C-B2CD-66E31D26A666}" srcOrd="10" destOrd="0" presId="urn:microsoft.com/office/officeart/2005/8/layout/default"/>
    <dgm:cxn modelId="{ED0A6600-4D56-4E9D-807D-B5190FB8A05A}" type="presParOf" srcId="{60FECEE2-5B70-4D7F-8D87-224968A41F9E}" destId="{05CE4747-7110-4D03-9F54-39C5DB7CEEEF}" srcOrd="11" destOrd="0" presId="urn:microsoft.com/office/officeart/2005/8/layout/default"/>
    <dgm:cxn modelId="{7BADFDF5-7C11-4BA5-95F1-E85A4F21F7CC}" type="presParOf" srcId="{60FECEE2-5B70-4D7F-8D87-224968A41F9E}" destId="{D2F2C50A-669A-486F-8B14-55C0DBBF5657}" srcOrd="12" destOrd="0" presId="urn:microsoft.com/office/officeart/2005/8/layout/default"/>
    <dgm:cxn modelId="{CBBF24B0-C09C-4461-A5DC-E940DABA7F24}" type="presParOf" srcId="{60FECEE2-5B70-4D7F-8D87-224968A41F9E}" destId="{50B4D000-AB47-4DE1-96D9-24864B2B1D00}" srcOrd="13" destOrd="0" presId="urn:microsoft.com/office/officeart/2005/8/layout/default"/>
    <dgm:cxn modelId="{317CA24C-C85B-4B39-89ED-2BF01D1958E5}" type="presParOf" srcId="{60FECEE2-5B70-4D7F-8D87-224968A41F9E}" destId="{0AC08E4C-65A0-4AD7-8633-2B315851E0C8}"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E4E24C-4AA1-46D8-B50E-5B944038EB63}">
      <dsp:nvSpPr>
        <dsp:cNvPr id="0" name=""/>
        <dsp:cNvSpPr/>
      </dsp:nvSpPr>
      <dsp:spPr>
        <a:xfrm>
          <a:off x="420189" y="153476"/>
          <a:ext cx="5268190" cy="1646309"/>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15100" tIns="251460" rIns="251460" bIns="251460" numCol="1" spcCol="1270" anchor="ctr" anchorCtr="0">
          <a:noAutofit/>
        </a:bodyPr>
        <a:lstStyle/>
        <a:p>
          <a:pPr marL="0" lvl="0" indent="0" algn="l" defTabSz="2933700">
            <a:lnSpc>
              <a:spcPct val="90000"/>
            </a:lnSpc>
            <a:spcBef>
              <a:spcPct val="0"/>
            </a:spcBef>
            <a:spcAft>
              <a:spcPct val="35000"/>
            </a:spcAft>
            <a:buNone/>
          </a:pPr>
          <a:r>
            <a:rPr lang="pt-BR" sz="6600" kern="1200" dirty="0"/>
            <a:t>Oferta</a:t>
          </a:r>
        </a:p>
      </dsp:txBody>
      <dsp:txXfrm>
        <a:off x="420189" y="153476"/>
        <a:ext cx="5268190" cy="1646309"/>
      </dsp:txXfrm>
    </dsp:sp>
    <dsp:sp modelId="{184ADD9E-BECE-4834-B396-7E627C104276}">
      <dsp:nvSpPr>
        <dsp:cNvPr id="0" name=""/>
        <dsp:cNvSpPr/>
      </dsp:nvSpPr>
      <dsp:spPr>
        <a:xfrm>
          <a:off x="162358" y="88089"/>
          <a:ext cx="1229064" cy="1383799"/>
        </a:xfrm>
        <a:prstGeom prst="rect">
          <a:avLst/>
        </a:prstGeom>
        <a:blipFill>
          <a:blip xmlns:r="http://schemas.openxmlformats.org/officeDocument/2006/relationships" r:embed="rId1">
            <a:duotone>
              <a:schemeClr val="accent2">
                <a:hueOff val="0"/>
                <a:satOff val="0"/>
                <a:lumOff val="0"/>
                <a:alphaOff val="0"/>
                <a:shade val="20000"/>
                <a:satMod val="200000"/>
              </a:schemeClr>
              <a:schemeClr val="accent2">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6000" r="-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4C4705-9EE5-4D48-82CE-DCB1EE677561}">
      <dsp:nvSpPr>
        <dsp:cNvPr id="0" name=""/>
        <dsp:cNvSpPr/>
      </dsp:nvSpPr>
      <dsp:spPr>
        <a:xfrm>
          <a:off x="6096432" y="239682"/>
          <a:ext cx="5268190" cy="1646309"/>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15100" tIns="247650" rIns="247650" bIns="247650" numCol="1" spcCol="1270" anchor="ctr" anchorCtr="0">
          <a:noAutofit/>
        </a:bodyPr>
        <a:lstStyle/>
        <a:p>
          <a:pPr marL="0" lvl="0" indent="0" algn="l" defTabSz="2889250">
            <a:lnSpc>
              <a:spcPct val="90000"/>
            </a:lnSpc>
            <a:spcBef>
              <a:spcPct val="0"/>
            </a:spcBef>
            <a:spcAft>
              <a:spcPct val="35000"/>
            </a:spcAft>
            <a:buNone/>
          </a:pPr>
          <a:r>
            <a:rPr lang="pt-BR" sz="6500" kern="1200" dirty="0"/>
            <a:t>Equidade</a:t>
          </a:r>
        </a:p>
      </dsp:txBody>
      <dsp:txXfrm>
        <a:off x="6096432" y="239682"/>
        <a:ext cx="5268190" cy="1646309"/>
      </dsp:txXfrm>
    </dsp:sp>
    <dsp:sp modelId="{71A5A2BC-1850-4971-9364-180599D58143}">
      <dsp:nvSpPr>
        <dsp:cNvPr id="0" name=""/>
        <dsp:cNvSpPr/>
      </dsp:nvSpPr>
      <dsp:spPr>
        <a:xfrm>
          <a:off x="5876924" y="1882"/>
          <a:ext cx="1152416" cy="1728625"/>
        </a:xfrm>
        <a:prstGeom prst="rect">
          <a:avLst/>
        </a:prstGeom>
        <a:blipFill>
          <a:blip xmlns:r="http://schemas.openxmlformats.org/officeDocument/2006/relationships" r:embed="rId3">
            <a:duotone>
              <a:schemeClr val="accent3">
                <a:hueOff val="0"/>
                <a:satOff val="0"/>
                <a:lumOff val="0"/>
                <a:alphaOff val="0"/>
                <a:shade val="20000"/>
                <a:satMod val="200000"/>
              </a:schemeClr>
              <a:schemeClr val="accent3">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CB9E1DE-D190-41F6-B08E-E5C36613F82D}">
      <dsp:nvSpPr>
        <dsp:cNvPr id="0" name=""/>
        <dsp:cNvSpPr/>
      </dsp:nvSpPr>
      <dsp:spPr>
        <a:xfrm>
          <a:off x="3239149" y="2312203"/>
          <a:ext cx="5268190" cy="1646309"/>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115100" tIns="247650" rIns="247650" bIns="247650" numCol="1" spcCol="1270" anchor="ctr" anchorCtr="0">
          <a:noAutofit/>
        </a:bodyPr>
        <a:lstStyle/>
        <a:p>
          <a:pPr marL="0" lvl="0" indent="0" algn="l" defTabSz="2889250">
            <a:lnSpc>
              <a:spcPct val="90000"/>
            </a:lnSpc>
            <a:spcBef>
              <a:spcPct val="0"/>
            </a:spcBef>
            <a:spcAft>
              <a:spcPct val="35000"/>
            </a:spcAft>
            <a:buNone/>
          </a:pPr>
          <a:r>
            <a:rPr lang="pt-BR" sz="6500" kern="1200" dirty="0"/>
            <a:t>Qualidade</a:t>
          </a:r>
        </a:p>
      </dsp:txBody>
      <dsp:txXfrm>
        <a:off x="3239149" y="2312203"/>
        <a:ext cx="5268190" cy="1646309"/>
      </dsp:txXfrm>
    </dsp:sp>
    <dsp:sp modelId="{DD03FCB5-7693-412D-832E-F908C0E49BAE}">
      <dsp:nvSpPr>
        <dsp:cNvPr id="0" name=""/>
        <dsp:cNvSpPr/>
      </dsp:nvSpPr>
      <dsp:spPr>
        <a:xfrm>
          <a:off x="3019641" y="2074403"/>
          <a:ext cx="1152416" cy="1728625"/>
        </a:xfrm>
        <a:prstGeom prst="rect">
          <a:avLst/>
        </a:prstGeom>
        <a:blipFill>
          <a:blip xmlns:r="http://schemas.openxmlformats.org/officeDocument/2006/relationships" r:embed="rId5">
            <a:duotone>
              <a:schemeClr val="accent4">
                <a:hueOff val="0"/>
                <a:satOff val="0"/>
                <a:lumOff val="0"/>
                <a:alphaOff val="0"/>
                <a:shade val="20000"/>
                <a:satMod val="200000"/>
              </a:schemeClr>
              <a:schemeClr val="accent4">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BA5EB1-8F90-48BF-986A-B3787736CDBC}">
      <dsp:nvSpPr>
        <dsp:cNvPr id="0" name=""/>
        <dsp:cNvSpPr/>
      </dsp:nvSpPr>
      <dsp:spPr>
        <a:xfrm rot="5400000">
          <a:off x="508683" y="1149550"/>
          <a:ext cx="1529600" cy="2545220"/>
        </a:xfrm>
        <a:prstGeom prst="corner">
          <a:avLst>
            <a:gd name="adj1" fmla="val 16120"/>
            <a:gd name="adj2" fmla="val 16110"/>
          </a:avLst>
        </a:prstGeom>
        <a:solidFill>
          <a:srgbClr val="0070C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B6A78E-1865-48B3-8B70-171CAE8321C4}">
      <dsp:nvSpPr>
        <dsp:cNvPr id="0" name=""/>
        <dsp:cNvSpPr/>
      </dsp:nvSpPr>
      <dsp:spPr>
        <a:xfrm>
          <a:off x="253355" y="1910022"/>
          <a:ext cx="2297839" cy="2014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pt-BR" sz="3200" kern="1200" dirty="0"/>
            <a:t>Acesso à </a:t>
          </a:r>
          <a:r>
            <a:rPr lang="pt-BR" sz="3200" kern="1200" dirty="0" err="1"/>
            <a:t>TICs</a:t>
          </a:r>
          <a:endParaRPr lang="pt-BR" sz="3200" kern="1200" dirty="0"/>
        </a:p>
      </dsp:txBody>
      <dsp:txXfrm>
        <a:off x="253355" y="1910022"/>
        <a:ext cx="2297839" cy="2014191"/>
      </dsp:txXfrm>
    </dsp:sp>
    <dsp:sp modelId="{76C3BDE7-F947-41E1-8747-E02A3AD2ADB0}">
      <dsp:nvSpPr>
        <dsp:cNvPr id="0" name=""/>
        <dsp:cNvSpPr/>
      </dsp:nvSpPr>
      <dsp:spPr>
        <a:xfrm>
          <a:off x="2117640" y="962168"/>
          <a:ext cx="433554" cy="433554"/>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3FD119-EA07-4187-8411-21ACFC921D58}">
      <dsp:nvSpPr>
        <dsp:cNvPr id="0" name=""/>
        <dsp:cNvSpPr/>
      </dsp:nvSpPr>
      <dsp:spPr>
        <a:xfrm rot="5400000">
          <a:off x="3321688" y="453469"/>
          <a:ext cx="1529600" cy="2545220"/>
        </a:xfrm>
        <a:prstGeom prst="corner">
          <a:avLst>
            <a:gd name="adj1" fmla="val 16120"/>
            <a:gd name="adj2" fmla="val 16110"/>
          </a:avLst>
        </a:prstGeom>
        <a:solidFill>
          <a:schemeClr val="accent5">
            <a:lumMod val="60000"/>
            <a:lumOff val="4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CA19BA-B60F-4CF9-93A7-9F2A83C4544F}">
      <dsp:nvSpPr>
        <dsp:cNvPr id="0" name=""/>
        <dsp:cNvSpPr/>
      </dsp:nvSpPr>
      <dsp:spPr>
        <a:xfrm>
          <a:off x="3066360" y="1213942"/>
          <a:ext cx="2297839" cy="2014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pt-BR" sz="3200" kern="1200" dirty="0"/>
            <a:t>Uso</a:t>
          </a:r>
        </a:p>
      </dsp:txBody>
      <dsp:txXfrm>
        <a:off x="3066360" y="1213942"/>
        <a:ext cx="2297839" cy="2014191"/>
      </dsp:txXfrm>
    </dsp:sp>
    <dsp:sp modelId="{7FC43C69-6F94-4825-8ECD-227F4A83A170}">
      <dsp:nvSpPr>
        <dsp:cNvPr id="0" name=""/>
        <dsp:cNvSpPr/>
      </dsp:nvSpPr>
      <dsp:spPr>
        <a:xfrm>
          <a:off x="4930645" y="266087"/>
          <a:ext cx="433554" cy="433554"/>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88801A-09AA-46CF-8AE2-855914A73C66}">
      <dsp:nvSpPr>
        <dsp:cNvPr id="0" name=""/>
        <dsp:cNvSpPr/>
      </dsp:nvSpPr>
      <dsp:spPr>
        <a:xfrm rot="5400000">
          <a:off x="6134693" y="-242611"/>
          <a:ext cx="1529600" cy="2545220"/>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20BFEF4-7A9A-4A1C-AB48-7A446F74DAE5}">
      <dsp:nvSpPr>
        <dsp:cNvPr id="0" name=""/>
        <dsp:cNvSpPr/>
      </dsp:nvSpPr>
      <dsp:spPr>
        <a:xfrm>
          <a:off x="5879364" y="517861"/>
          <a:ext cx="2297839" cy="20141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pt-BR" sz="3200" kern="1200" dirty="0"/>
            <a:t>Apropriação</a:t>
          </a:r>
        </a:p>
      </dsp:txBody>
      <dsp:txXfrm>
        <a:off x="5879364" y="517861"/>
        <a:ext cx="2297839" cy="20141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6D45AE-F64B-4904-9BB5-55A3959357C4}">
      <dsp:nvSpPr>
        <dsp:cNvPr id="0" name=""/>
        <dsp:cNvSpPr/>
      </dsp:nvSpPr>
      <dsp:spPr>
        <a:xfrm>
          <a:off x="4020159" y="822289"/>
          <a:ext cx="5662214" cy="5662214"/>
        </a:xfrm>
        <a:prstGeom prst="blockArc">
          <a:avLst>
            <a:gd name="adj1" fmla="val 12616325"/>
            <a:gd name="adj2" fmla="val 16194070"/>
            <a:gd name="adj3" fmla="val 4536"/>
          </a:avLst>
        </a:prstGeom>
        <a:solidFill>
          <a:schemeClr val="accent3">
            <a:shade val="90000"/>
            <a:hueOff val="234785"/>
            <a:satOff val="-20610"/>
            <a:lumOff val="1522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984D23-7E06-48D6-B1EE-B6BF6BB48409}">
      <dsp:nvSpPr>
        <dsp:cNvPr id="0" name=""/>
        <dsp:cNvSpPr/>
      </dsp:nvSpPr>
      <dsp:spPr>
        <a:xfrm>
          <a:off x="4011106" y="837685"/>
          <a:ext cx="5662214" cy="5662214"/>
        </a:xfrm>
        <a:prstGeom prst="blockArc">
          <a:avLst>
            <a:gd name="adj1" fmla="val 9097341"/>
            <a:gd name="adj2" fmla="val 12638517"/>
            <a:gd name="adj3" fmla="val 4536"/>
          </a:avLst>
        </a:prstGeom>
        <a:solidFill>
          <a:schemeClr val="accent3">
            <a:shade val="90000"/>
            <a:hueOff val="469570"/>
            <a:satOff val="-41220"/>
            <a:lumOff val="3045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14DA19-4F64-4978-BE4C-BC872DE12904}">
      <dsp:nvSpPr>
        <dsp:cNvPr id="0" name=""/>
        <dsp:cNvSpPr/>
      </dsp:nvSpPr>
      <dsp:spPr>
        <a:xfrm>
          <a:off x="3981942" y="785074"/>
          <a:ext cx="5662214" cy="5662214"/>
        </a:xfrm>
        <a:prstGeom prst="blockArc">
          <a:avLst>
            <a:gd name="adj1" fmla="val 5276901"/>
            <a:gd name="adj2" fmla="val 9022602"/>
            <a:gd name="adj3" fmla="val 4536"/>
          </a:avLst>
        </a:prstGeom>
        <a:solidFill>
          <a:schemeClr val="accent3">
            <a:shade val="90000"/>
            <a:hueOff val="704355"/>
            <a:satOff val="-61830"/>
            <a:lumOff val="4568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75D86B2-43D1-4E01-8045-8737E758DDA5}">
      <dsp:nvSpPr>
        <dsp:cNvPr id="0" name=""/>
        <dsp:cNvSpPr/>
      </dsp:nvSpPr>
      <dsp:spPr>
        <a:xfrm>
          <a:off x="4042762" y="783565"/>
          <a:ext cx="5662214" cy="5662214"/>
        </a:xfrm>
        <a:prstGeom prst="blockArc">
          <a:avLst>
            <a:gd name="adj1" fmla="val 1839385"/>
            <a:gd name="adj2" fmla="val 5352492"/>
            <a:gd name="adj3" fmla="val 4536"/>
          </a:avLst>
        </a:prstGeom>
        <a:solidFill>
          <a:schemeClr val="accent3">
            <a:shade val="90000"/>
            <a:hueOff val="469570"/>
            <a:satOff val="-41220"/>
            <a:lumOff val="3045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5ED349-D881-4600-853F-5F1A9D13C862}">
      <dsp:nvSpPr>
        <dsp:cNvPr id="0" name=""/>
        <dsp:cNvSpPr/>
      </dsp:nvSpPr>
      <dsp:spPr>
        <a:xfrm>
          <a:off x="4026756" y="810925"/>
          <a:ext cx="5662214" cy="5662214"/>
        </a:xfrm>
        <a:prstGeom prst="blockArc">
          <a:avLst>
            <a:gd name="adj1" fmla="val 19800000"/>
            <a:gd name="adj2" fmla="val 1800000"/>
            <a:gd name="adj3" fmla="val 4536"/>
          </a:avLst>
        </a:prstGeom>
        <a:solidFill>
          <a:schemeClr val="accent3">
            <a:shade val="90000"/>
            <a:hueOff val="234785"/>
            <a:satOff val="-20610"/>
            <a:lumOff val="1522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3356109-F844-4A2B-B4D2-7ABF039B6DA8}">
      <dsp:nvSpPr>
        <dsp:cNvPr id="0" name=""/>
        <dsp:cNvSpPr/>
      </dsp:nvSpPr>
      <dsp:spPr>
        <a:xfrm>
          <a:off x="4033321" y="822235"/>
          <a:ext cx="5662214" cy="5662214"/>
        </a:xfrm>
        <a:prstGeom prst="blockArc">
          <a:avLst>
            <a:gd name="adj1" fmla="val 16177717"/>
            <a:gd name="adj2" fmla="val 19783752"/>
            <a:gd name="adj3" fmla="val 4536"/>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EC46373-6FD2-4CC2-86F0-D5A4593F68BE}">
      <dsp:nvSpPr>
        <dsp:cNvPr id="0" name=""/>
        <dsp:cNvSpPr/>
      </dsp:nvSpPr>
      <dsp:spPr>
        <a:xfrm>
          <a:off x="5583792" y="2367962"/>
          <a:ext cx="2548141" cy="2548141"/>
        </a:xfrm>
        <a:prstGeom prst="ellipse">
          <a:avLst/>
        </a:prstGeom>
        <a:solidFill>
          <a:schemeClr val="accent3">
            <a:shade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pt-BR" sz="4300" b="1" kern="1200" dirty="0">
              <a:solidFill>
                <a:schemeClr val="tx1"/>
              </a:solidFill>
            </a:rPr>
            <a:t>Política</a:t>
          </a:r>
          <a:r>
            <a:rPr lang="pt-BR" sz="4300" kern="1200" dirty="0"/>
            <a:t> </a:t>
          </a:r>
        </a:p>
      </dsp:txBody>
      <dsp:txXfrm>
        <a:off x="5956959" y="2741129"/>
        <a:ext cx="1801807" cy="1801807"/>
      </dsp:txXfrm>
    </dsp:sp>
    <dsp:sp modelId="{21242929-5672-452D-B7AE-2036EC275402}">
      <dsp:nvSpPr>
        <dsp:cNvPr id="0" name=""/>
        <dsp:cNvSpPr/>
      </dsp:nvSpPr>
      <dsp:spPr>
        <a:xfrm>
          <a:off x="5732993" y="-120935"/>
          <a:ext cx="2227001" cy="2014884"/>
        </a:xfrm>
        <a:prstGeom prst="ellips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Visão Estratégica</a:t>
          </a:r>
        </a:p>
      </dsp:txBody>
      <dsp:txXfrm>
        <a:off x="6059130" y="174138"/>
        <a:ext cx="1574727" cy="1424738"/>
      </dsp:txXfrm>
    </dsp:sp>
    <dsp:sp modelId="{8802D8B9-A1A4-48CF-83B5-E10983780BD9}">
      <dsp:nvSpPr>
        <dsp:cNvPr id="0" name=""/>
        <dsp:cNvSpPr/>
      </dsp:nvSpPr>
      <dsp:spPr>
        <a:xfrm>
          <a:off x="7908521" y="1205463"/>
          <a:ext cx="2691084" cy="2106245"/>
        </a:xfrm>
        <a:prstGeom prst="ellips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Formação Profissional</a:t>
          </a:r>
        </a:p>
      </dsp:txBody>
      <dsp:txXfrm>
        <a:off x="8302621" y="1513915"/>
        <a:ext cx="1902884" cy="1489341"/>
      </dsp:txXfrm>
    </dsp:sp>
    <dsp:sp modelId="{ED1E4A2C-F833-4E13-87C1-D53C66E70606}">
      <dsp:nvSpPr>
        <dsp:cNvPr id="0" name=""/>
        <dsp:cNvSpPr/>
      </dsp:nvSpPr>
      <dsp:spPr>
        <a:xfrm>
          <a:off x="7970585" y="3934444"/>
          <a:ext cx="2566956" cy="2182070"/>
        </a:xfrm>
        <a:prstGeom prst="ellips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Mudanças  Pedagógicas</a:t>
          </a:r>
        </a:p>
      </dsp:txBody>
      <dsp:txXfrm>
        <a:off x="8346507" y="4254001"/>
        <a:ext cx="1815112" cy="1542956"/>
      </dsp:txXfrm>
    </dsp:sp>
    <dsp:sp modelId="{E7D87846-DE55-402C-8BEE-6F881ADDB4E6}">
      <dsp:nvSpPr>
        <dsp:cNvPr id="0" name=""/>
        <dsp:cNvSpPr/>
      </dsp:nvSpPr>
      <dsp:spPr>
        <a:xfrm>
          <a:off x="5688773" y="5336375"/>
          <a:ext cx="2446664" cy="2089853"/>
        </a:xfrm>
        <a:prstGeom prst="ellipse">
          <a:avLst/>
        </a:prstGeom>
        <a:solidFill>
          <a:schemeClr val="accent3">
            <a:shade val="50000"/>
            <a:hueOff val="665225"/>
            <a:satOff val="-61137"/>
            <a:lumOff val="5157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Currículo</a:t>
          </a:r>
        </a:p>
      </dsp:txBody>
      <dsp:txXfrm>
        <a:off x="6047079" y="5642427"/>
        <a:ext cx="1730052" cy="1477749"/>
      </dsp:txXfrm>
    </dsp:sp>
    <dsp:sp modelId="{923E8391-B2AD-4F07-9A3B-6D6B367E7CB9}">
      <dsp:nvSpPr>
        <dsp:cNvPr id="0" name=""/>
        <dsp:cNvSpPr/>
      </dsp:nvSpPr>
      <dsp:spPr>
        <a:xfrm>
          <a:off x="3188959" y="4040259"/>
          <a:ext cx="2437692" cy="1887171"/>
        </a:xfrm>
        <a:prstGeom prst="ellipse">
          <a:avLst/>
        </a:prstGeom>
        <a:solidFill>
          <a:schemeClr val="accent3">
            <a:shade val="50000"/>
            <a:hueOff val="443483"/>
            <a:satOff val="-40758"/>
            <a:lumOff val="343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Avaliação</a:t>
          </a:r>
        </a:p>
      </dsp:txBody>
      <dsp:txXfrm>
        <a:off x="3545951" y="4316629"/>
        <a:ext cx="1723708" cy="1334431"/>
      </dsp:txXfrm>
    </dsp:sp>
    <dsp:sp modelId="{708146FE-2346-4F58-92CC-D8756DE562AC}">
      <dsp:nvSpPr>
        <dsp:cNvPr id="0" name=""/>
        <dsp:cNvSpPr/>
      </dsp:nvSpPr>
      <dsp:spPr>
        <a:xfrm>
          <a:off x="3246437" y="1311200"/>
          <a:ext cx="2430450" cy="1894769"/>
        </a:xfrm>
        <a:prstGeom prst="ellips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Infraestrutura</a:t>
          </a:r>
        </a:p>
      </dsp:txBody>
      <dsp:txXfrm>
        <a:off x="3602368" y="1588682"/>
        <a:ext cx="1718588" cy="133980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FFF2E6-A2B2-4BCD-8EFA-499CE33AA821}">
      <dsp:nvSpPr>
        <dsp:cNvPr id="0" name=""/>
        <dsp:cNvSpPr/>
      </dsp:nvSpPr>
      <dsp:spPr>
        <a:xfrm>
          <a:off x="854132" y="505"/>
          <a:ext cx="2629621" cy="157777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endParaRPr lang="pt-BR" sz="1400" b="1" kern="1200" dirty="0">
            <a:solidFill>
              <a:schemeClr val="tx1"/>
            </a:solidFill>
          </a:endParaRPr>
        </a:p>
      </dsp:txBody>
      <dsp:txXfrm>
        <a:off x="854132" y="505"/>
        <a:ext cx="2629621" cy="1577773"/>
      </dsp:txXfrm>
    </dsp:sp>
    <dsp:sp modelId="{AC140305-5F4F-49FD-B9C5-9E4385F9FA25}">
      <dsp:nvSpPr>
        <dsp:cNvPr id="0" name=""/>
        <dsp:cNvSpPr/>
      </dsp:nvSpPr>
      <dsp:spPr>
        <a:xfrm>
          <a:off x="3746717" y="505"/>
          <a:ext cx="2629621" cy="1577773"/>
        </a:xfrm>
        <a:prstGeom prst="rect">
          <a:avLst/>
        </a:prstGeom>
        <a:solidFill>
          <a:schemeClr val="accent3">
            <a:hueOff val="-765516"/>
            <a:satOff val="-8185"/>
            <a:lumOff val="38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Articule programas com a política</a:t>
          </a:r>
        </a:p>
      </dsp:txBody>
      <dsp:txXfrm>
        <a:off x="3746717" y="505"/>
        <a:ext cx="2629621" cy="1577773"/>
      </dsp:txXfrm>
    </dsp:sp>
    <dsp:sp modelId="{FE2EBE1D-F531-4D6B-9612-4B4B53CC55F6}">
      <dsp:nvSpPr>
        <dsp:cNvPr id="0" name=""/>
        <dsp:cNvSpPr/>
      </dsp:nvSpPr>
      <dsp:spPr>
        <a:xfrm>
          <a:off x="6639301" y="505"/>
          <a:ext cx="2629621" cy="1577773"/>
        </a:xfrm>
        <a:prstGeom prst="rect">
          <a:avLst/>
        </a:prstGeom>
        <a:solidFill>
          <a:schemeClr val="accent3">
            <a:hueOff val="-1531032"/>
            <a:satOff val="-16371"/>
            <a:lumOff val="76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Utilize a tecnologia como uma alavanca para mudança</a:t>
          </a:r>
        </a:p>
      </dsp:txBody>
      <dsp:txXfrm>
        <a:off x="6639301" y="505"/>
        <a:ext cx="2629621" cy="1577773"/>
      </dsp:txXfrm>
    </dsp:sp>
    <dsp:sp modelId="{A49B5C52-E063-4C2C-83ED-64B6153A37AD}">
      <dsp:nvSpPr>
        <dsp:cNvPr id="0" name=""/>
        <dsp:cNvSpPr/>
      </dsp:nvSpPr>
      <dsp:spPr>
        <a:xfrm>
          <a:off x="854132" y="1841240"/>
          <a:ext cx="2629621" cy="1577773"/>
        </a:xfrm>
        <a:prstGeom prst="rect">
          <a:avLst/>
        </a:prstGeom>
        <a:solidFill>
          <a:schemeClr val="accent3">
            <a:hueOff val="-2296548"/>
            <a:satOff val="-24556"/>
            <a:lumOff val="115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Planeje uma trajetória </a:t>
          </a:r>
        </a:p>
      </dsp:txBody>
      <dsp:txXfrm>
        <a:off x="854132" y="1841240"/>
        <a:ext cx="2629621" cy="1577773"/>
      </dsp:txXfrm>
    </dsp:sp>
    <dsp:sp modelId="{15B35D14-9AD5-41E5-9E6C-32F86F4AF295}">
      <dsp:nvSpPr>
        <dsp:cNvPr id="0" name=""/>
        <dsp:cNvSpPr/>
      </dsp:nvSpPr>
      <dsp:spPr>
        <a:xfrm>
          <a:off x="3746717" y="1841240"/>
          <a:ext cx="2629621" cy="1577773"/>
        </a:xfrm>
        <a:prstGeom prst="rect">
          <a:avLst/>
        </a:prstGeom>
        <a:solidFill>
          <a:schemeClr val="accent3">
            <a:hueOff val="-3062064"/>
            <a:satOff val="-32741"/>
            <a:lumOff val="1535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Capacite todos os atores</a:t>
          </a:r>
        </a:p>
      </dsp:txBody>
      <dsp:txXfrm>
        <a:off x="3746717" y="1841240"/>
        <a:ext cx="2629621" cy="1577773"/>
      </dsp:txXfrm>
    </dsp:sp>
    <dsp:sp modelId="{404C4E11-5EB2-478C-B2CD-66E31D26A666}">
      <dsp:nvSpPr>
        <dsp:cNvPr id="0" name=""/>
        <dsp:cNvSpPr/>
      </dsp:nvSpPr>
      <dsp:spPr>
        <a:xfrm>
          <a:off x="6639301" y="1841240"/>
          <a:ext cx="2629621" cy="1577773"/>
        </a:xfrm>
        <a:prstGeom prst="rect">
          <a:avLst/>
        </a:prstGeom>
        <a:solidFill>
          <a:schemeClr val="accent3">
            <a:hueOff val="-3827580"/>
            <a:satOff val="-40926"/>
            <a:lumOff val="191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Construa parcerias</a:t>
          </a:r>
        </a:p>
      </dsp:txBody>
      <dsp:txXfrm>
        <a:off x="6639301" y="1841240"/>
        <a:ext cx="2629621" cy="1577773"/>
      </dsp:txXfrm>
    </dsp:sp>
    <dsp:sp modelId="{D2F2C50A-669A-486F-8B14-55C0DBBF5657}">
      <dsp:nvSpPr>
        <dsp:cNvPr id="0" name=""/>
        <dsp:cNvSpPr/>
      </dsp:nvSpPr>
      <dsp:spPr>
        <a:xfrm>
          <a:off x="2300424" y="3681975"/>
          <a:ext cx="2629621" cy="1577773"/>
        </a:xfrm>
        <a:prstGeom prst="rect">
          <a:avLst/>
        </a:prstGeom>
        <a:solidFill>
          <a:schemeClr val="accent3">
            <a:hueOff val="-4593096"/>
            <a:satOff val="-49112"/>
            <a:lumOff val="230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Assegure os recursos</a:t>
          </a:r>
        </a:p>
      </dsp:txBody>
      <dsp:txXfrm>
        <a:off x="2300424" y="3681975"/>
        <a:ext cx="2629621" cy="1577773"/>
      </dsp:txXfrm>
    </dsp:sp>
    <dsp:sp modelId="{0AC08E4C-65A0-4AD7-8633-2B315851E0C8}">
      <dsp:nvSpPr>
        <dsp:cNvPr id="0" name=""/>
        <dsp:cNvSpPr/>
      </dsp:nvSpPr>
      <dsp:spPr>
        <a:xfrm>
          <a:off x="5193009" y="3681975"/>
          <a:ext cx="2629621" cy="1577773"/>
        </a:xfrm>
        <a:prstGeom prst="rect">
          <a:avLst/>
        </a:prstGeom>
        <a:solidFill>
          <a:schemeClr val="accent3">
            <a:hueOff val="-5358612"/>
            <a:satOff val="-57297"/>
            <a:lumOff val="2686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tx1"/>
              </a:solidFill>
            </a:rPr>
            <a:t>Monitore e avalie</a:t>
          </a:r>
        </a:p>
      </dsp:txBody>
      <dsp:txXfrm>
        <a:off x="5193009" y="3681975"/>
        <a:ext cx="2629621" cy="157777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DB07D64F-EB6B-43FA-B834-4339D2774AED}" type="datetimeFigureOut">
              <a:rPr lang="pt-BR" smtClean="0"/>
              <a:t>06/06/2018</a:t>
            </a:fld>
            <a:endParaRPr lang="pt-BR"/>
          </a:p>
        </p:txBody>
      </p:sp>
      <p:sp>
        <p:nvSpPr>
          <p:cNvPr id="4" name="Espaço Reservado para Imagem de Sli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893D08D6-46FA-41CC-A057-B3EB28DF6829}" type="slidenum">
              <a:rPr lang="pt-BR" smtClean="0"/>
              <a:t>‹nº›</a:t>
            </a:fld>
            <a:endParaRPr lang="pt-BR"/>
          </a:p>
        </p:txBody>
      </p:sp>
    </p:spTree>
    <p:extLst>
      <p:ext uri="{BB962C8B-B14F-4D97-AF65-F5344CB8AC3E}">
        <p14:creationId xmlns:p14="http://schemas.microsoft.com/office/powerpoint/2010/main" val="29356242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unesdoc.unesco.org/images/0024/002442/244268e.pdf"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b="1" kern="1200" dirty="0">
                <a:solidFill>
                  <a:schemeClr val="tx1"/>
                </a:solidFill>
                <a:effectLst/>
                <a:latin typeface="+mn-lt"/>
                <a:ea typeface="+mn-ea"/>
                <a:cs typeface="+mn-cs"/>
              </a:rPr>
              <a:t>Rede </a:t>
            </a:r>
            <a:r>
              <a:rPr lang="pt-BR" sz="1200" b="1" kern="1200" dirty="0" err="1">
                <a:solidFill>
                  <a:schemeClr val="tx1"/>
                </a:solidFill>
                <a:effectLst/>
                <a:latin typeface="+mn-lt"/>
                <a:ea typeface="+mn-ea"/>
                <a:cs typeface="+mn-cs"/>
              </a:rPr>
              <a:t>IEB</a:t>
            </a:r>
            <a:r>
              <a:rPr lang="pt-BR" sz="1200" kern="1200" dirty="0">
                <a:solidFill>
                  <a:schemeClr val="tx1"/>
                </a:solidFill>
                <a:effectLst/>
                <a:latin typeface="+mn-lt"/>
                <a:ea typeface="+mn-ea"/>
                <a:cs typeface="+mn-cs"/>
              </a:rPr>
              <a:t>: referência para gestores públicos, professores e instituições que queiram inovar para garantir uma educação pública de qualidade para todos os brasileiros. Plataforma de consulta e conexão de centros de pesquisa e especialistas do setor de educação.</a:t>
            </a:r>
          </a:p>
          <a:p>
            <a:endParaRPr lang="pt-BR"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6311E3-CF85-4A83-A62A-F052B34B4847}"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5018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1971F-7D8D-4CCF-B3AE-A9EE58ECD3C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9662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dirty="0">
                <a:hlinkClick r:id="rId3"/>
              </a:rPr>
              <a:t>http://unesdoc.unesco.org/images/0024/002442/244268e.pdf</a:t>
            </a:r>
            <a:r>
              <a:rPr lang="pt-BR" dirty="0"/>
              <a:t> </a:t>
            </a:r>
          </a:p>
          <a:p>
            <a:endParaRPr lang="pt-BR"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1971F-7D8D-4CCF-B3AE-A9EE58ECD3C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34072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a:t>file:///C:/Users/Marina/Downloads/EfectsICTinEducation-OCDE2009.pdf </a:t>
            </a:r>
            <a:endParaRPr lang="pt-BR"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1971F-7D8D-4CCF-B3AE-A9EE58ECD3C4}"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4531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2.jp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1.xml"/><Relationship Id="rId7" Type="http://schemas.openxmlformats.org/officeDocument/2006/relationships/image" Target="../media/image12.jp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oleObject" Target="../embeddings/oleObject13.bin"/><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xml"/><Relationship Id="rId7" Type="http://schemas.openxmlformats.org/officeDocument/2006/relationships/image" Target="../media/image10.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4.xml"/><Relationship Id="rId9"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9E9207D-481B-4DBB-A8B0-461129E0DDE3}"/>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2BD1ABE7-DFD4-4730-AB84-744A7CD6FE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F2CD0F99-4B4A-45CF-BF9E-637BD7537A2D}"/>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5" name="Espaço Reservado para Rodapé 4">
            <a:extLst>
              <a:ext uri="{FF2B5EF4-FFF2-40B4-BE49-F238E27FC236}">
                <a16:creationId xmlns:a16="http://schemas.microsoft.com/office/drawing/2014/main" id="{E8698ED5-A510-467E-8036-8B2E7E34472A}"/>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9E7C8646-73BE-4DBA-9E12-6B2E15780107}"/>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13324000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3F9AEFF-5280-4710-A2AA-199EDE49B3B2}"/>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30183BB2-1C78-462B-9DE0-173D623D201D}"/>
              </a:ext>
            </a:extLst>
          </p:cNvPr>
          <p:cNvSpPr>
            <a:spLocks noGrp="1"/>
          </p:cNvSpPr>
          <p:nvPr>
            <p:ph type="body" orient="vert" idx="1"/>
          </p:nvPr>
        </p:nvSpPr>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5459B2DC-4F3F-46D1-8D92-BE89722E78D3}"/>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5" name="Espaço Reservado para Rodapé 4">
            <a:extLst>
              <a:ext uri="{FF2B5EF4-FFF2-40B4-BE49-F238E27FC236}">
                <a16:creationId xmlns:a16="http://schemas.microsoft.com/office/drawing/2014/main" id="{3F8CD0E1-8EFD-4B4F-BBF9-16734042E9D4}"/>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4B482A7A-C997-46EA-89BA-F9F205F82611}"/>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3824415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166D6C0E-4230-4BBE-8D39-BE1158B06117}"/>
              </a:ext>
            </a:extLst>
          </p:cNvPr>
          <p:cNvSpPr>
            <a:spLocks noGrp="1"/>
          </p:cNvSpPr>
          <p:nvPr>
            <p:ph type="title" orient="vert"/>
          </p:nvPr>
        </p:nvSpPr>
        <p:spPr>
          <a:xfrm>
            <a:off x="8724900" y="365125"/>
            <a:ext cx="2628900"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0920C046-3FE9-4580-B45B-62353E670D4F}"/>
              </a:ext>
            </a:extLst>
          </p:cNvPr>
          <p:cNvSpPr>
            <a:spLocks noGrp="1"/>
          </p:cNvSpPr>
          <p:nvPr>
            <p:ph type="body" orient="vert" idx="1"/>
          </p:nvPr>
        </p:nvSpPr>
        <p:spPr>
          <a:xfrm>
            <a:off x="838200" y="365125"/>
            <a:ext cx="7734300" cy="5811838"/>
          </a:xfr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A7E813A6-6BD1-4167-9217-4C54EE07586B}"/>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5" name="Espaço Reservado para Rodapé 4">
            <a:extLst>
              <a:ext uri="{FF2B5EF4-FFF2-40B4-BE49-F238E27FC236}">
                <a16:creationId xmlns:a16="http://schemas.microsoft.com/office/drawing/2014/main" id="{A5E0E470-7A5D-476B-AE14-204A019703D2}"/>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ED66D7B1-5EFE-4D21-A159-48B2C9D17BA9}"/>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2079413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ítulo_1">
    <p:bg>
      <p:bgPr>
        <a:solidFill>
          <a:srgbClr val="85C440"/>
        </a:solidFill>
        <a:effectLst/>
      </p:bgPr>
    </p:bg>
    <p:spTree>
      <p:nvGrpSpPr>
        <p:cNvPr id="1" name=""/>
        <p:cNvGrpSpPr/>
        <p:nvPr/>
      </p:nvGrpSpPr>
      <p:grpSpPr>
        <a:xfrm>
          <a:off x="0" y="0"/>
          <a:ext cx="0" cy="0"/>
          <a:chOff x="0" y="0"/>
          <a:chExt cx="0" cy="0"/>
        </a:xfrm>
      </p:grpSpPr>
      <p:pic>
        <p:nvPicPr>
          <p:cNvPr id="14" name="Imagem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48590" y="1272851"/>
            <a:ext cx="7894820" cy="4312298"/>
          </a:xfrm>
          <a:prstGeom prst="rect">
            <a:avLst/>
          </a:prstGeom>
        </p:spPr>
      </p:pic>
    </p:spTree>
    <p:extLst>
      <p:ext uri="{BB962C8B-B14F-4D97-AF65-F5344CB8AC3E}">
        <p14:creationId xmlns:p14="http://schemas.microsoft.com/office/powerpoint/2010/main" val="17949453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ítulo_2">
    <p:spTree>
      <p:nvGrpSpPr>
        <p:cNvPr id="1" name=""/>
        <p:cNvGrpSpPr/>
        <p:nvPr/>
      </p:nvGrpSpPr>
      <p:grpSpPr>
        <a:xfrm>
          <a:off x="0" y="0"/>
          <a:ext cx="0" cy="0"/>
          <a:chOff x="0" y="0"/>
          <a:chExt cx="0" cy="0"/>
        </a:xfrm>
      </p:grpSpPr>
      <p:sp>
        <p:nvSpPr>
          <p:cNvPr id="7" name="Retângulo 7"/>
          <p:cNvSpPr/>
          <p:nvPr/>
        </p:nvSpPr>
        <p:spPr>
          <a:xfrm>
            <a:off x="382557" y="5903258"/>
            <a:ext cx="1990529" cy="276111"/>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ontent Placeholder 2"/>
          <p:cNvSpPr>
            <a:spLocks noGrp="1"/>
          </p:cNvSpPr>
          <p:nvPr>
            <p:ph idx="10" hasCustomPrompt="1"/>
          </p:nvPr>
        </p:nvSpPr>
        <p:spPr>
          <a:xfrm>
            <a:off x="382558" y="2944034"/>
            <a:ext cx="10096498" cy="2800767"/>
          </a:xfrm>
        </p:spPr>
        <p:txBody>
          <a:bodyPr anchor="b"/>
          <a:lstStyle>
            <a:lvl1pPr marL="0" indent="0">
              <a:buNone/>
              <a:defRPr sz="8800" b="1">
                <a:solidFill>
                  <a:srgbClr val="14233D"/>
                </a:solidFill>
                <a:latin typeface="+mn-lt"/>
              </a:defRPr>
            </a:lvl1pPr>
            <a:lvl2pPr>
              <a:defRPr sz="2400">
                <a:solidFill>
                  <a:srgbClr val="FFFFFF"/>
                </a:solidFill>
              </a:defRPr>
            </a:lvl2pPr>
            <a:lvl3pPr>
              <a:defRPr sz="2400">
                <a:solidFill>
                  <a:srgbClr val="FFFFFF"/>
                </a:solidFill>
              </a:defRPr>
            </a:lvl3pPr>
            <a:lvl4pPr>
              <a:defRPr sz="2400">
                <a:solidFill>
                  <a:srgbClr val="FFFFFF"/>
                </a:solidFill>
              </a:defRPr>
            </a:lvl4pPr>
            <a:lvl5pPr>
              <a:defRPr sz="2400">
                <a:solidFill>
                  <a:srgbClr val="FFFFFF"/>
                </a:solidFill>
              </a:defRPr>
            </a:lvl5pPr>
          </a:lstStyle>
          <a:p>
            <a:pPr lvl="0"/>
            <a:r>
              <a:rPr lang="en-US" dirty="0"/>
              <a:t>TÍTULO</a:t>
            </a:r>
          </a:p>
        </p:txBody>
      </p:sp>
      <p:pic>
        <p:nvPicPr>
          <p:cNvPr id="11" name="Imagem 6"/>
          <p:cNvPicPr>
            <a:picLocks noChangeAspect="1"/>
          </p:cNvPicPr>
          <p:nvPr/>
        </p:nvPicPr>
        <p:blipFill rotWithShape="1">
          <a:blip r:embed="rId2" cstate="email">
            <a:biLevel thresh="75000"/>
            <a:alphaModFix amt="19000"/>
            <a:extLst>
              <a:ext uri="{28A0092B-C50C-407E-A947-70E740481C1C}">
                <a14:useLocalDpi xmlns:a14="http://schemas.microsoft.com/office/drawing/2010/main"/>
              </a:ext>
            </a:extLst>
          </a:blip>
          <a:srcRect l="-41533" t="-16108" r="13290" b="37366"/>
          <a:stretch/>
        </p:blipFill>
        <p:spPr>
          <a:xfrm rot="10800000">
            <a:off x="-1" y="0"/>
            <a:ext cx="6400800" cy="4870174"/>
          </a:xfrm>
          <a:prstGeom prst="rect">
            <a:avLst/>
          </a:prstGeom>
        </p:spPr>
      </p:pic>
      <p:pic>
        <p:nvPicPr>
          <p:cNvPr id="13" name="Imagem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24666" y="349616"/>
            <a:ext cx="2222500" cy="2260600"/>
          </a:xfrm>
          <a:prstGeom prst="rect">
            <a:avLst/>
          </a:prstGeom>
        </p:spPr>
      </p:pic>
    </p:spTree>
    <p:extLst>
      <p:ext uri="{BB962C8B-B14F-4D97-AF65-F5344CB8AC3E}">
        <p14:creationId xmlns:p14="http://schemas.microsoft.com/office/powerpoint/2010/main" val="590477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ítulo_3">
    <p:bg>
      <p:bgPr>
        <a:solidFill>
          <a:srgbClr val="14233D"/>
        </a:solidFill>
        <a:effectLst/>
      </p:bgPr>
    </p:bg>
    <p:spTree>
      <p:nvGrpSpPr>
        <p:cNvPr id="1" name=""/>
        <p:cNvGrpSpPr/>
        <p:nvPr/>
      </p:nvGrpSpPr>
      <p:grpSpPr>
        <a:xfrm>
          <a:off x="0" y="0"/>
          <a:ext cx="0" cy="0"/>
          <a:chOff x="0" y="0"/>
          <a:chExt cx="0" cy="0"/>
        </a:xfrm>
      </p:grpSpPr>
      <p:pic>
        <p:nvPicPr>
          <p:cNvPr id="11" name="Imagem 5"/>
          <p:cNvPicPr>
            <a:picLocks noChangeAspect="1"/>
          </p:cNvPicPr>
          <p:nvPr/>
        </p:nvPicPr>
        <p:blipFill rotWithShape="1">
          <a:blip r:embed="rId2" cstate="email">
            <a:biLevel thresh="75000"/>
            <a:lum bright="100000"/>
            <a:alphaModFix amt="11000"/>
            <a:extLst>
              <a:ext uri="{28A0092B-C50C-407E-A947-70E740481C1C}">
                <a14:useLocalDpi xmlns:a14="http://schemas.microsoft.com/office/drawing/2010/main"/>
              </a:ext>
            </a:extLst>
          </a:blip>
          <a:srcRect l="-41533" t="-16108" r="13290" b="37366"/>
          <a:stretch/>
        </p:blipFill>
        <p:spPr>
          <a:xfrm rot="10800000">
            <a:off x="-1" y="0"/>
            <a:ext cx="6400800" cy="4870174"/>
          </a:xfrm>
          <a:prstGeom prst="rect">
            <a:avLst/>
          </a:prstGeom>
        </p:spPr>
      </p:pic>
      <p:sp>
        <p:nvSpPr>
          <p:cNvPr id="7" name="Retângulo 7"/>
          <p:cNvSpPr/>
          <p:nvPr/>
        </p:nvSpPr>
        <p:spPr>
          <a:xfrm>
            <a:off x="382557" y="5903258"/>
            <a:ext cx="1990529" cy="276111"/>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8" name="Imagem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22113" y="349616"/>
            <a:ext cx="2222500" cy="2260600"/>
          </a:xfrm>
          <a:prstGeom prst="rect">
            <a:avLst/>
          </a:prstGeom>
        </p:spPr>
      </p:pic>
      <p:sp>
        <p:nvSpPr>
          <p:cNvPr id="10" name="Content Placeholder 2"/>
          <p:cNvSpPr>
            <a:spLocks noGrp="1"/>
          </p:cNvSpPr>
          <p:nvPr>
            <p:ph idx="10" hasCustomPrompt="1"/>
          </p:nvPr>
        </p:nvSpPr>
        <p:spPr>
          <a:xfrm>
            <a:off x="382558" y="2944034"/>
            <a:ext cx="10096498" cy="2800767"/>
          </a:xfrm>
        </p:spPr>
        <p:txBody>
          <a:bodyPr anchor="b"/>
          <a:lstStyle>
            <a:lvl1pPr marL="0" indent="0">
              <a:buNone/>
              <a:defRPr sz="8800" b="1">
                <a:solidFill>
                  <a:srgbClr val="FFFFFF"/>
                </a:solidFill>
                <a:latin typeface="+mn-lt"/>
              </a:defRPr>
            </a:lvl1pPr>
            <a:lvl2pPr>
              <a:defRPr sz="2400">
                <a:solidFill>
                  <a:srgbClr val="FFFFFF"/>
                </a:solidFill>
              </a:defRPr>
            </a:lvl2pPr>
            <a:lvl3pPr>
              <a:defRPr sz="2400">
                <a:solidFill>
                  <a:srgbClr val="FFFFFF"/>
                </a:solidFill>
              </a:defRPr>
            </a:lvl3pPr>
            <a:lvl4pPr>
              <a:defRPr sz="2400">
                <a:solidFill>
                  <a:srgbClr val="FFFFFF"/>
                </a:solidFill>
              </a:defRPr>
            </a:lvl4pPr>
            <a:lvl5pPr>
              <a:defRPr sz="2400">
                <a:solidFill>
                  <a:srgbClr val="FFFFFF"/>
                </a:solidFill>
              </a:defRPr>
            </a:lvl5pPr>
          </a:lstStyle>
          <a:p>
            <a:pPr lvl="0"/>
            <a:r>
              <a:rPr lang="en-US" dirty="0"/>
              <a:t>TÍTULO</a:t>
            </a:r>
          </a:p>
        </p:txBody>
      </p:sp>
    </p:spTree>
    <p:extLst>
      <p:ext uri="{BB962C8B-B14F-4D97-AF65-F5344CB8AC3E}">
        <p14:creationId xmlns:p14="http://schemas.microsoft.com/office/powerpoint/2010/main" val="14315317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bertura">
    <p:bg>
      <p:bgPr>
        <a:solidFill>
          <a:srgbClr val="14233D"/>
        </a:solidFill>
        <a:effectLst/>
      </p:bgPr>
    </p:bg>
    <p:spTree>
      <p:nvGrpSpPr>
        <p:cNvPr id="1" name=""/>
        <p:cNvGrpSpPr/>
        <p:nvPr/>
      </p:nvGrpSpPr>
      <p:grpSpPr>
        <a:xfrm>
          <a:off x="0" y="0"/>
          <a:ext cx="0" cy="0"/>
          <a:chOff x="0" y="0"/>
          <a:chExt cx="0" cy="0"/>
        </a:xfrm>
      </p:grpSpPr>
      <p:pic>
        <p:nvPicPr>
          <p:cNvPr id="6" name="Imagem 5"/>
          <p:cNvPicPr>
            <a:picLocks noChangeAspect="1"/>
          </p:cNvPicPr>
          <p:nvPr/>
        </p:nvPicPr>
        <p:blipFill rotWithShape="1">
          <a:blip r:embed="rId2" cstate="email">
            <a:biLevel thresh="75000"/>
            <a:lum bright="100000"/>
            <a:alphaModFix amt="11000"/>
            <a:extLst>
              <a:ext uri="{28A0092B-C50C-407E-A947-70E740481C1C}">
                <a14:useLocalDpi xmlns:a14="http://schemas.microsoft.com/office/drawing/2010/main"/>
              </a:ext>
            </a:extLst>
          </a:blip>
          <a:srcRect l="-41825" t="-9068" r="13582" b="30326"/>
          <a:stretch/>
        </p:blipFill>
        <p:spPr>
          <a:xfrm>
            <a:off x="5791200" y="1987826"/>
            <a:ext cx="6400800" cy="4870174"/>
          </a:xfrm>
          <a:prstGeom prst="rect">
            <a:avLst/>
          </a:prstGeom>
        </p:spPr>
      </p:pic>
      <p:sp>
        <p:nvSpPr>
          <p:cNvPr id="8" name="Retângulo 2"/>
          <p:cNvSpPr/>
          <p:nvPr/>
        </p:nvSpPr>
        <p:spPr>
          <a:xfrm>
            <a:off x="663819" y="3300457"/>
            <a:ext cx="1846934" cy="257086"/>
          </a:xfrm>
          <a:prstGeom prst="rect">
            <a:avLst/>
          </a:prstGeom>
          <a:solidFill>
            <a:srgbClr val="FFF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Content Placeholder 2"/>
          <p:cNvSpPr>
            <a:spLocks noGrp="1"/>
          </p:cNvSpPr>
          <p:nvPr>
            <p:ph idx="1" hasCustomPrompt="1"/>
          </p:nvPr>
        </p:nvSpPr>
        <p:spPr>
          <a:xfrm>
            <a:off x="628649" y="3951505"/>
            <a:ext cx="6721720" cy="830997"/>
          </a:xfrm>
        </p:spPr>
        <p:txBody>
          <a:bodyPr/>
          <a:lstStyle>
            <a:lvl1pPr marL="0" indent="0">
              <a:buNone/>
              <a:defRPr sz="2400">
                <a:solidFill>
                  <a:srgbClr val="FFFFFF"/>
                </a:solidFill>
              </a:defRPr>
            </a:lvl1pPr>
            <a:lvl2pPr>
              <a:defRPr sz="2400">
                <a:solidFill>
                  <a:srgbClr val="FFFFFF"/>
                </a:solidFill>
              </a:defRPr>
            </a:lvl2pPr>
            <a:lvl3pPr>
              <a:defRPr sz="2400">
                <a:solidFill>
                  <a:srgbClr val="FFFFFF"/>
                </a:solidFill>
              </a:defRPr>
            </a:lvl3pPr>
            <a:lvl4pPr>
              <a:defRPr sz="2400">
                <a:solidFill>
                  <a:srgbClr val="FFFFFF"/>
                </a:solidFill>
              </a:defRPr>
            </a:lvl4pPr>
            <a:lvl5pPr>
              <a:defRPr sz="2400">
                <a:solidFill>
                  <a:srgbClr val="FFFFFF"/>
                </a:solidFill>
              </a:defRPr>
            </a:lvl5pPr>
          </a:lstStyle>
          <a:p>
            <a:pPr lvl="0"/>
            <a:r>
              <a:rPr lang="en-US" dirty="0" err="1"/>
              <a:t>Texto</a:t>
            </a:r>
            <a:endParaRPr lang="en-US" dirty="0"/>
          </a:p>
        </p:txBody>
      </p:sp>
      <p:sp>
        <p:nvSpPr>
          <p:cNvPr id="16" name="Content Placeholder 2"/>
          <p:cNvSpPr>
            <a:spLocks noGrp="1"/>
          </p:cNvSpPr>
          <p:nvPr>
            <p:ph idx="10" hasCustomPrompt="1"/>
          </p:nvPr>
        </p:nvSpPr>
        <p:spPr>
          <a:xfrm>
            <a:off x="628650" y="1796364"/>
            <a:ext cx="6721719" cy="1089529"/>
          </a:xfrm>
        </p:spPr>
        <p:txBody>
          <a:bodyPr anchor="b"/>
          <a:lstStyle>
            <a:lvl1pPr marL="0" indent="0">
              <a:buNone/>
              <a:defRPr sz="7200" b="1">
                <a:solidFill>
                  <a:srgbClr val="FFFFFF"/>
                </a:solidFill>
                <a:latin typeface="+mn-lt"/>
              </a:defRPr>
            </a:lvl1pPr>
            <a:lvl2pPr>
              <a:defRPr sz="2400">
                <a:solidFill>
                  <a:srgbClr val="FFFFFF"/>
                </a:solidFill>
              </a:defRPr>
            </a:lvl2pPr>
            <a:lvl3pPr>
              <a:defRPr sz="2400">
                <a:solidFill>
                  <a:srgbClr val="FFFFFF"/>
                </a:solidFill>
              </a:defRPr>
            </a:lvl3pPr>
            <a:lvl4pPr>
              <a:defRPr sz="2400">
                <a:solidFill>
                  <a:srgbClr val="FFFFFF"/>
                </a:solidFill>
              </a:defRPr>
            </a:lvl4pPr>
            <a:lvl5pPr>
              <a:defRPr sz="2400">
                <a:solidFill>
                  <a:srgbClr val="FFFFFF"/>
                </a:solidFill>
              </a:defRPr>
            </a:lvl5pPr>
          </a:lstStyle>
          <a:p>
            <a:pPr lvl="0"/>
            <a:r>
              <a:rPr lang="en-US" dirty="0"/>
              <a:t>TÍTULO</a:t>
            </a:r>
          </a:p>
        </p:txBody>
      </p:sp>
    </p:spTree>
    <p:extLst>
      <p:ext uri="{BB962C8B-B14F-4D97-AF65-F5344CB8AC3E}">
        <p14:creationId xmlns:p14="http://schemas.microsoft.com/office/powerpoint/2010/main" val="4060225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ítulo_Capítulo">
    <p:bg>
      <p:bgPr>
        <a:solidFill>
          <a:srgbClr val="14233D"/>
        </a:solidFill>
        <a:effectLst/>
      </p:bgPr>
    </p:bg>
    <p:spTree>
      <p:nvGrpSpPr>
        <p:cNvPr id="1" name=""/>
        <p:cNvGrpSpPr/>
        <p:nvPr/>
      </p:nvGrpSpPr>
      <p:grpSpPr>
        <a:xfrm>
          <a:off x="0" y="0"/>
          <a:ext cx="0" cy="0"/>
          <a:chOff x="0" y="0"/>
          <a:chExt cx="0" cy="0"/>
        </a:xfrm>
      </p:grpSpPr>
      <p:sp>
        <p:nvSpPr>
          <p:cNvPr id="9" name="Retângulo 2"/>
          <p:cNvSpPr/>
          <p:nvPr/>
        </p:nvSpPr>
        <p:spPr>
          <a:xfrm>
            <a:off x="10263554" y="3300457"/>
            <a:ext cx="920262" cy="257086"/>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1" name="Imagem 5"/>
          <p:cNvPicPr>
            <a:picLocks noChangeAspect="1"/>
          </p:cNvPicPr>
          <p:nvPr/>
        </p:nvPicPr>
        <p:blipFill rotWithShape="1">
          <a:blip r:embed="rId2" cstate="email">
            <a:biLevel thresh="75000"/>
            <a:lum bright="100000"/>
            <a:alphaModFix amt="11000"/>
            <a:extLst>
              <a:ext uri="{28A0092B-C50C-407E-A947-70E740481C1C}">
                <a14:useLocalDpi xmlns:a14="http://schemas.microsoft.com/office/drawing/2010/main"/>
              </a:ext>
            </a:extLst>
          </a:blip>
          <a:srcRect l="-41533" t="-16108" r="13290" b="37366"/>
          <a:stretch/>
        </p:blipFill>
        <p:spPr>
          <a:xfrm rot="10800000">
            <a:off x="-1" y="0"/>
            <a:ext cx="6400800" cy="4870174"/>
          </a:xfrm>
          <a:prstGeom prst="rect">
            <a:avLst/>
          </a:prstGeom>
        </p:spPr>
      </p:pic>
      <p:sp>
        <p:nvSpPr>
          <p:cNvPr id="12" name="Title Placeholder 1"/>
          <p:cNvSpPr>
            <a:spLocks noGrp="1"/>
          </p:cNvSpPr>
          <p:nvPr>
            <p:ph type="title" hasCustomPrompt="1"/>
          </p:nvPr>
        </p:nvSpPr>
        <p:spPr>
          <a:xfrm>
            <a:off x="9813184" y="2210928"/>
            <a:ext cx="1370632" cy="1089529"/>
          </a:xfrm>
          <a:prstGeom prst="rect">
            <a:avLst/>
          </a:prstGeom>
          <a:noFill/>
        </p:spPr>
        <p:txBody>
          <a:bodyPr wrap="square" lIns="0" rIns="0" rtlCol="0" anchor="b">
            <a:spAutoFit/>
          </a:bodyPr>
          <a:lstStyle>
            <a:lvl1pPr algn="r">
              <a:defRPr sz="7200">
                <a:solidFill>
                  <a:srgbClr val="FFFFFF"/>
                </a:solidFill>
              </a:defRPr>
            </a:lvl1pPr>
          </a:lstStyle>
          <a:p>
            <a:pPr marL="0" lvl="0"/>
            <a:r>
              <a:rPr lang="en-US" dirty="0"/>
              <a:t>1</a:t>
            </a:r>
          </a:p>
        </p:txBody>
      </p:sp>
      <p:sp>
        <p:nvSpPr>
          <p:cNvPr id="3" name="Text Placeholder 2"/>
          <p:cNvSpPr>
            <a:spLocks noGrp="1"/>
          </p:cNvSpPr>
          <p:nvPr>
            <p:ph type="body" sz="quarter" idx="10" hasCustomPrompt="1"/>
          </p:nvPr>
        </p:nvSpPr>
        <p:spPr>
          <a:xfrm>
            <a:off x="5421191" y="3816529"/>
            <a:ext cx="5762625" cy="997196"/>
          </a:xfrm>
          <a:noFill/>
        </p:spPr>
        <p:txBody>
          <a:bodyPr wrap="square" lIns="0" rIns="0" rtlCol="0" anchor="b">
            <a:spAutoFit/>
          </a:bodyPr>
          <a:lstStyle>
            <a:lvl1pPr>
              <a:defRPr lang="en-US" sz="7200" b="1" smtClean="0">
                <a:solidFill>
                  <a:srgbClr val="FFFFFF"/>
                </a:solidFill>
                <a:latin typeface="Calibri" charset="0"/>
                <a:ea typeface="+mj-ea"/>
                <a:cs typeface="+mj-cs"/>
              </a:defRPr>
            </a:lvl1pPr>
            <a:lvl2pPr>
              <a:defRPr lang="en-US" smtClean="0"/>
            </a:lvl2pPr>
            <a:lvl3pPr>
              <a:defRPr lang="en-US" smtClean="0"/>
            </a:lvl3pPr>
            <a:lvl4pPr>
              <a:defRPr lang="en-US" smtClean="0"/>
            </a:lvl4pPr>
            <a:lvl5pPr>
              <a:defRPr lang="en-US"/>
            </a:lvl5pPr>
          </a:lstStyle>
          <a:p>
            <a:pPr marL="0" lvl="0" algn="r">
              <a:spcBef>
                <a:spcPct val="0"/>
              </a:spcBef>
              <a:buNone/>
            </a:pPr>
            <a:r>
              <a:rPr lang="en-US" dirty="0"/>
              <a:t>CAPÍTULO</a:t>
            </a:r>
          </a:p>
        </p:txBody>
      </p:sp>
    </p:spTree>
    <p:extLst>
      <p:ext uri="{BB962C8B-B14F-4D97-AF65-F5344CB8AC3E}">
        <p14:creationId xmlns:p14="http://schemas.microsoft.com/office/powerpoint/2010/main" val="28269237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údo">
    <p:bg>
      <p:bgPr>
        <a:solidFill>
          <a:schemeClr val="tx2">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7" name="Imagem 9"/>
          <p:cNvPicPr>
            <a:picLocks noChangeAspect="1"/>
          </p:cNvPicPr>
          <p:nvPr/>
        </p:nvPicPr>
        <p:blipFill rotWithShape="1">
          <a:blip r:embed="rId6" cstate="email">
            <a:biLevel thresh="75000"/>
            <a:alphaModFix amt="11000"/>
            <a:extLst>
              <a:ext uri="{28A0092B-C50C-407E-A947-70E740481C1C}">
                <a14:useLocalDpi xmlns:a14="http://schemas.microsoft.com/office/drawing/2010/main"/>
              </a:ext>
            </a:extLst>
          </a:blip>
          <a:srcRect l="-19906" t="-16373" r="23392" b="37631"/>
          <a:stretch/>
        </p:blipFill>
        <p:spPr>
          <a:xfrm>
            <a:off x="7374835" y="1987826"/>
            <a:ext cx="4817165" cy="4870174"/>
          </a:xfrm>
          <a:prstGeom prst="rect">
            <a:avLst/>
          </a:prstGeom>
        </p:spPr>
      </p:pic>
      <p:sp>
        <p:nvSpPr>
          <p:cNvPr id="8" name="Title Placeholder 1"/>
          <p:cNvSpPr>
            <a:spLocks noGrp="1"/>
          </p:cNvSpPr>
          <p:nvPr>
            <p:ph type="title" hasCustomPrompt="1"/>
          </p:nvPr>
        </p:nvSpPr>
        <p:spPr>
          <a:xfrm>
            <a:off x="531327" y="378854"/>
            <a:ext cx="11158650" cy="701731"/>
          </a:xfrm>
          <a:prstGeom prst="rect">
            <a:avLst/>
          </a:prstGeom>
          <a:noFill/>
        </p:spPr>
        <p:txBody>
          <a:bodyPr wrap="square" lIns="0" rIns="0" rtlCol="0" anchor="b">
            <a:spAutoFit/>
          </a:bodyPr>
          <a:lstStyle>
            <a:lvl1pPr>
              <a:defRPr/>
            </a:lvl1pPr>
          </a:lstStyle>
          <a:p>
            <a:pPr marL="0" lvl="0"/>
            <a:r>
              <a:rPr lang="en-US" dirty="0"/>
              <a:t>TÍTULO</a:t>
            </a:r>
          </a:p>
        </p:txBody>
      </p:sp>
      <p:sp>
        <p:nvSpPr>
          <p:cNvPr id="9" name="Content Placeholder 2"/>
          <p:cNvSpPr>
            <a:spLocks noGrp="1"/>
          </p:cNvSpPr>
          <p:nvPr>
            <p:ph idx="1" hasCustomPrompt="1"/>
          </p:nvPr>
        </p:nvSpPr>
        <p:spPr>
          <a:xfrm>
            <a:off x="531327" y="1987825"/>
            <a:ext cx="11158650" cy="4189137"/>
          </a:xfrm>
        </p:spPr>
        <p:txBody>
          <a:bodyPr/>
          <a:lstStyle>
            <a:lvl1pPr>
              <a:defRPr>
                <a:solidFill>
                  <a:srgbClr val="13243D"/>
                </a:solidFill>
              </a:defRPr>
            </a:lvl1pPr>
            <a:lvl2pPr>
              <a:defRPr>
                <a:solidFill>
                  <a:srgbClr val="13243D"/>
                </a:solidFill>
              </a:defRPr>
            </a:lvl2pPr>
          </a:lstStyle>
          <a:p>
            <a:pPr lvl="0"/>
            <a:r>
              <a:rPr lang="en-US" dirty="0" err="1"/>
              <a:t>Texto</a:t>
            </a:r>
            <a:endParaRPr lang="en-US" dirty="0"/>
          </a:p>
          <a:p>
            <a:pPr lvl="1"/>
            <a:r>
              <a:rPr lang="en-US" dirty="0" err="1"/>
              <a:t>Texto</a:t>
            </a:r>
            <a:endParaRPr lang="en-US" dirty="0"/>
          </a:p>
        </p:txBody>
      </p:sp>
    </p:spTree>
    <p:extLst>
      <p:ext uri="{BB962C8B-B14F-4D97-AF65-F5344CB8AC3E}">
        <p14:creationId xmlns:p14="http://schemas.microsoft.com/office/powerpoint/2010/main" val="18214038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magem_cheia">
    <p:spTree>
      <p:nvGrpSpPr>
        <p:cNvPr id="1" name=""/>
        <p:cNvGrpSpPr/>
        <p:nvPr/>
      </p:nvGrpSpPr>
      <p:grpSpPr>
        <a:xfrm>
          <a:off x="0" y="0"/>
          <a:ext cx="0" cy="0"/>
          <a:chOff x="0" y="0"/>
          <a:chExt cx="0" cy="0"/>
        </a:xfrm>
      </p:grpSpPr>
      <p:pic>
        <p:nvPicPr>
          <p:cNvPr id="10" name="Imagem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670" y="-1"/>
            <a:ext cx="12182330" cy="6858000"/>
          </a:xfrm>
          <a:prstGeom prst="rect">
            <a:avLst/>
          </a:prstGeom>
        </p:spPr>
      </p:pic>
      <p:sp>
        <p:nvSpPr>
          <p:cNvPr id="11" name="Retângulo 7"/>
          <p:cNvSpPr/>
          <p:nvPr/>
        </p:nvSpPr>
        <p:spPr>
          <a:xfrm rot="10800000">
            <a:off x="9670" y="-1"/>
            <a:ext cx="12192000" cy="6858000"/>
          </a:xfrm>
          <a:prstGeom prst="rect">
            <a:avLst/>
          </a:prstGeom>
          <a:gradFill flip="none" rotWithShape="1">
            <a:gsLst>
              <a:gs pos="0">
                <a:schemeClr val="tx1"/>
              </a:gs>
              <a:gs pos="0">
                <a:srgbClr val="13243D">
                  <a:alpha val="58000"/>
                </a:srgbClr>
              </a:gs>
              <a:gs pos="41000">
                <a:srgbClr val="13243D">
                  <a:alpha val="51000"/>
                </a:srgbClr>
              </a:gs>
              <a:gs pos="98000">
                <a:srgbClr val="13243D">
                  <a:alpha val="68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Retângulo 9"/>
          <p:cNvSpPr/>
          <p:nvPr/>
        </p:nvSpPr>
        <p:spPr>
          <a:xfrm>
            <a:off x="2585609" y="4524823"/>
            <a:ext cx="1846934" cy="257086"/>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Title 1"/>
          <p:cNvSpPr>
            <a:spLocks noGrp="1"/>
          </p:cNvSpPr>
          <p:nvPr>
            <p:ph type="ctrTitle" hasCustomPrompt="1"/>
          </p:nvPr>
        </p:nvSpPr>
        <p:spPr>
          <a:xfrm>
            <a:off x="2585609" y="3684593"/>
            <a:ext cx="7275635" cy="840230"/>
          </a:xfrm>
          <a:noFill/>
        </p:spPr>
        <p:txBody>
          <a:bodyPr wrap="square" lIns="0" rIns="0" rtlCol="0" anchor="b">
            <a:spAutoFit/>
          </a:bodyPr>
          <a:lstStyle>
            <a:lvl1pPr>
              <a:defRPr lang="en-US" sz="5400">
                <a:solidFill>
                  <a:srgbClr val="FFFFFF"/>
                </a:solidFill>
                <a:ea typeface="Calibri" charset="0"/>
                <a:cs typeface="Calibri" charset="0"/>
              </a:defRPr>
            </a:lvl1pPr>
          </a:lstStyle>
          <a:p>
            <a:pPr marL="0" lvl="0"/>
            <a:r>
              <a:rPr lang="en-US" dirty="0"/>
              <a:t>TEXTO</a:t>
            </a:r>
          </a:p>
        </p:txBody>
      </p:sp>
    </p:spTree>
    <p:extLst>
      <p:ext uri="{BB962C8B-B14F-4D97-AF65-F5344CB8AC3E}">
        <p14:creationId xmlns:p14="http://schemas.microsoft.com/office/powerpoint/2010/main" val="21006333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rase_Impacto">
    <p:bg>
      <p:bgPr>
        <a:solidFill>
          <a:srgbClr val="14233D"/>
        </a:solidFill>
        <a:effectLst/>
      </p:bgPr>
    </p:bg>
    <p:spTree>
      <p:nvGrpSpPr>
        <p:cNvPr id="1" name=""/>
        <p:cNvGrpSpPr/>
        <p:nvPr/>
      </p:nvGrpSpPr>
      <p:grpSpPr>
        <a:xfrm>
          <a:off x="0" y="0"/>
          <a:ext cx="0" cy="0"/>
          <a:chOff x="0" y="0"/>
          <a:chExt cx="0" cy="0"/>
        </a:xfrm>
      </p:grpSpPr>
      <p:sp>
        <p:nvSpPr>
          <p:cNvPr id="7" name="Retângulo 10"/>
          <p:cNvSpPr/>
          <p:nvPr/>
        </p:nvSpPr>
        <p:spPr>
          <a:xfrm>
            <a:off x="3174545" y="4617978"/>
            <a:ext cx="1846934" cy="257086"/>
          </a:xfrm>
          <a:prstGeom prst="rect">
            <a:avLst/>
          </a:prstGeom>
          <a:solidFill>
            <a:srgbClr val="F92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Title 1"/>
          <p:cNvSpPr>
            <a:spLocks noGrp="1"/>
          </p:cNvSpPr>
          <p:nvPr>
            <p:ph type="ctrTitle" hasCustomPrompt="1"/>
          </p:nvPr>
        </p:nvSpPr>
        <p:spPr>
          <a:xfrm>
            <a:off x="3174545" y="3777748"/>
            <a:ext cx="6086526" cy="840230"/>
          </a:xfrm>
          <a:noFill/>
        </p:spPr>
        <p:txBody>
          <a:bodyPr wrap="square" lIns="0" rIns="0" rtlCol="0" anchor="b">
            <a:spAutoFit/>
          </a:bodyPr>
          <a:lstStyle>
            <a:lvl1pPr>
              <a:defRPr lang="en-US" sz="5400">
                <a:solidFill>
                  <a:srgbClr val="FFFFFF"/>
                </a:solidFill>
                <a:ea typeface="Calibri" charset="0"/>
                <a:cs typeface="Calibri" charset="0"/>
              </a:defRPr>
            </a:lvl1pPr>
          </a:lstStyle>
          <a:p>
            <a:pPr marL="0" lvl="0"/>
            <a:r>
              <a:rPr lang="en-US" dirty="0"/>
              <a:t>TEXTO</a:t>
            </a:r>
          </a:p>
        </p:txBody>
      </p:sp>
      <p:pic>
        <p:nvPicPr>
          <p:cNvPr id="20" name="Picture 19"/>
          <p:cNvPicPr>
            <a:picLocks noChangeAspect="1"/>
          </p:cNvPicPr>
          <p:nvPr/>
        </p:nvPicPr>
        <p:blipFill rotWithShape="1">
          <a:blip r:embed="rId2" cstate="email">
            <a:biLevel thresh="50000"/>
            <a:alphaModFix amt="11000"/>
            <a:extLst>
              <a:ext uri="{28A0092B-C50C-407E-A947-70E740481C1C}">
                <a14:useLocalDpi xmlns:a14="http://schemas.microsoft.com/office/drawing/2010/main"/>
              </a:ext>
            </a:extLst>
          </a:blip>
          <a:srcRect l="39557" t="17621" b="10025"/>
          <a:stretch/>
        </p:blipFill>
        <p:spPr>
          <a:xfrm rot="2607829">
            <a:off x="-711644" y="-1064529"/>
            <a:ext cx="3339956" cy="4962076"/>
          </a:xfrm>
          <a:custGeom>
            <a:avLst/>
            <a:gdLst>
              <a:gd name="connsiteX0" fmla="*/ 0 w 3339956"/>
              <a:gd name="connsiteY0" fmla="*/ 2112157 h 4962076"/>
              <a:gd name="connsiteX1" fmla="*/ 2228566 w 3339956"/>
              <a:gd name="connsiteY1" fmla="*/ 0 h 4962076"/>
              <a:gd name="connsiteX2" fmla="*/ 2438370 w 3339956"/>
              <a:gd name="connsiteY2" fmla="*/ 0 h 4962076"/>
              <a:gd name="connsiteX3" fmla="*/ 3339956 w 3339956"/>
              <a:gd name="connsiteY3" fmla="*/ 951276 h 4962076"/>
              <a:gd name="connsiteX4" fmla="*/ 3339956 w 3339956"/>
              <a:gd name="connsiteY4" fmla="*/ 4356545 h 4962076"/>
              <a:gd name="connsiteX5" fmla="*/ 2701053 w 3339956"/>
              <a:gd name="connsiteY5" fmla="*/ 4962076 h 496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9956" h="4962076">
                <a:moveTo>
                  <a:pt x="0" y="2112157"/>
                </a:moveTo>
                <a:lnTo>
                  <a:pt x="2228566" y="0"/>
                </a:lnTo>
                <a:lnTo>
                  <a:pt x="2438370" y="0"/>
                </a:lnTo>
                <a:lnTo>
                  <a:pt x="3339956" y="951276"/>
                </a:lnTo>
                <a:lnTo>
                  <a:pt x="3339956" y="4356545"/>
                </a:lnTo>
                <a:lnTo>
                  <a:pt x="2701053" y="4962076"/>
                </a:lnTo>
                <a:close/>
              </a:path>
            </a:pathLst>
          </a:custGeom>
        </p:spPr>
      </p:pic>
      <p:pic>
        <p:nvPicPr>
          <p:cNvPr id="21" name="Picture 20"/>
          <p:cNvPicPr>
            <a:picLocks noChangeAspect="1"/>
          </p:cNvPicPr>
          <p:nvPr/>
        </p:nvPicPr>
        <p:blipFill rotWithShape="1">
          <a:blip r:embed="rId2" cstate="email">
            <a:biLevel thresh="50000"/>
            <a:alphaModFix amt="11000"/>
            <a:extLst>
              <a:ext uri="{28A0092B-C50C-407E-A947-70E740481C1C}">
                <a14:useLocalDpi xmlns:a14="http://schemas.microsoft.com/office/drawing/2010/main"/>
              </a:ext>
            </a:extLst>
          </a:blip>
          <a:srcRect l="-5013" t="1240" r="36292" b="34421"/>
          <a:stretch/>
        </p:blipFill>
        <p:spPr>
          <a:xfrm rot="508126">
            <a:off x="8662387" y="2712946"/>
            <a:ext cx="3797371" cy="4412340"/>
          </a:xfrm>
          <a:custGeom>
            <a:avLst/>
            <a:gdLst>
              <a:gd name="connsiteX0" fmla="*/ 0 w 3797371"/>
              <a:gd name="connsiteY0" fmla="*/ 479305 h 4412340"/>
              <a:gd name="connsiteX1" fmla="*/ 3219108 w 3797371"/>
              <a:gd name="connsiteY1" fmla="*/ 0 h 4412340"/>
              <a:gd name="connsiteX2" fmla="*/ 3797371 w 3797371"/>
              <a:gd name="connsiteY2" fmla="*/ 3883727 h 4412340"/>
              <a:gd name="connsiteX3" fmla="*/ 247097 w 3797371"/>
              <a:gd name="connsiteY3" fmla="*/ 4412340 h 4412340"/>
              <a:gd name="connsiteX4" fmla="*/ 0 w 3797371"/>
              <a:gd name="connsiteY4" fmla="*/ 2752782 h 4412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71" h="4412340">
                <a:moveTo>
                  <a:pt x="0" y="479305"/>
                </a:moveTo>
                <a:lnTo>
                  <a:pt x="3219108" y="0"/>
                </a:lnTo>
                <a:lnTo>
                  <a:pt x="3797371" y="3883727"/>
                </a:lnTo>
                <a:lnTo>
                  <a:pt x="247097" y="4412340"/>
                </a:lnTo>
                <a:lnTo>
                  <a:pt x="0" y="2752782"/>
                </a:lnTo>
                <a:close/>
              </a:path>
            </a:pathLst>
          </a:custGeom>
        </p:spPr>
      </p:pic>
    </p:spTree>
    <p:extLst>
      <p:ext uri="{BB962C8B-B14F-4D97-AF65-F5344CB8AC3E}">
        <p14:creationId xmlns:p14="http://schemas.microsoft.com/office/powerpoint/2010/main" val="172509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ACDFC8A-E229-4CA1-8CAB-1BF2F732907F}"/>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4626517B-7687-4F94-812D-0B1CFFE83219}"/>
              </a:ext>
            </a:extLst>
          </p:cNvPr>
          <p:cNvSpPr>
            <a:spLocks noGrp="1"/>
          </p:cNvSpPr>
          <p:nvPr>
            <p:ph idx="1"/>
          </p:nvPr>
        </p:nvSpPr>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FC99AD2D-413F-4D8E-94BB-3E0901AA1E06}"/>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5" name="Espaço Reservado para Rodapé 4">
            <a:extLst>
              <a:ext uri="{FF2B5EF4-FFF2-40B4-BE49-F238E27FC236}">
                <a16:creationId xmlns:a16="http://schemas.microsoft.com/office/drawing/2014/main" id="{B7A8EA22-9536-44A3-AB31-A03BDBAB3B60}"/>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52CD2E64-9300-40E0-9168-034DAA8173ED}"/>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7432338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itação">
    <p:bg>
      <p:bgPr>
        <a:solidFill>
          <a:srgbClr val="14233D"/>
        </a:solidFill>
        <a:effectLst/>
      </p:bgPr>
    </p:bg>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2" cstate="email">
            <a:biLevel thresh="50000"/>
            <a:alphaModFix amt="11000"/>
            <a:extLst>
              <a:ext uri="{28A0092B-C50C-407E-A947-70E740481C1C}">
                <a14:useLocalDpi xmlns:a14="http://schemas.microsoft.com/office/drawing/2010/main"/>
              </a:ext>
            </a:extLst>
          </a:blip>
          <a:srcRect l="39557" t="17621" b="10025"/>
          <a:stretch/>
        </p:blipFill>
        <p:spPr>
          <a:xfrm rot="2607829">
            <a:off x="-711644" y="-1064529"/>
            <a:ext cx="3339956" cy="4962076"/>
          </a:xfrm>
          <a:custGeom>
            <a:avLst/>
            <a:gdLst>
              <a:gd name="connsiteX0" fmla="*/ 0 w 3339956"/>
              <a:gd name="connsiteY0" fmla="*/ 2112157 h 4962076"/>
              <a:gd name="connsiteX1" fmla="*/ 2228566 w 3339956"/>
              <a:gd name="connsiteY1" fmla="*/ 0 h 4962076"/>
              <a:gd name="connsiteX2" fmla="*/ 2438370 w 3339956"/>
              <a:gd name="connsiteY2" fmla="*/ 0 h 4962076"/>
              <a:gd name="connsiteX3" fmla="*/ 3339956 w 3339956"/>
              <a:gd name="connsiteY3" fmla="*/ 951276 h 4962076"/>
              <a:gd name="connsiteX4" fmla="*/ 3339956 w 3339956"/>
              <a:gd name="connsiteY4" fmla="*/ 4356545 h 4962076"/>
              <a:gd name="connsiteX5" fmla="*/ 2701053 w 3339956"/>
              <a:gd name="connsiteY5" fmla="*/ 4962076 h 496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9956" h="4962076">
                <a:moveTo>
                  <a:pt x="0" y="2112157"/>
                </a:moveTo>
                <a:lnTo>
                  <a:pt x="2228566" y="0"/>
                </a:lnTo>
                <a:lnTo>
                  <a:pt x="2438370" y="0"/>
                </a:lnTo>
                <a:lnTo>
                  <a:pt x="3339956" y="951276"/>
                </a:lnTo>
                <a:lnTo>
                  <a:pt x="3339956" y="4356545"/>
                </a:lnTo>
                <a:lnTo>
                  <a:pt x="2701053" y="4962076"/>
                </a:lnTo>
                <a:close/>
              </a:path>
            </a:pathLst>
          </a:custGeom>
        </p:spPr>
      </p:pic>
      <p:pic>
        <p:nvPicPr>
          <p:cNvPr id="19" name="Picture 18"/>
          <p:cNvPicPr>
            <a:picLocks noChangeAspect="1"/>
          </p:cNvPicPr>
          <p:nvPr/>
        </p:nvPicPr>
        <p:blipFill rotWithShape="1">
          <a:blip r:embed="rId2" cstate="email">
            <a:biLevel thresh="50000"/>
            <a:alphaModFix amt="11000"/>
            <a:extLst>
              <a:ext uri="{28A0092B-C50C-407E-A947-70E740481C1C}">
                <a14:useLocalDpi xmlns:a14="http://schemas.microsoft.com/office/drawing/2010/main"/>
              </a:ext>
            </a:extLst>
          </a:blip>
          <a:srcRect l="-5013" t="1240" r="36292" b="34421"/>
          <a:stretch/>
        </p:blipFill>
        <p:spPr>
          <a:xfrm rot="508126">
            <a:off x="8662387" y="2712946"/>
            <a:ext cx="3797371" cy="4412340"/>
          </a:xfrm>
          <a:custGeom>
            <a:avLst/>
            <a:gdLst>
              <a:gd name="connsiteX0" fmla="*/ 0 w 3797371"/>
              <a:gd name="connsiteY0" fmla="*/ 479305 h 4412340"/>
              <a:gd name="connsiteX1" fmla="*/ 3219108 w 3797371"/>
              <a:gd name="connsiteY1" fmla="*/ 0 h 4412340"/>
              <a:gd name="connsiteX2" fmla="*/ 3797371 w 3797371"/>
              <a:gd name="connsiteY2" fmla="*/ 3883727 h 4412340"/>
              <a:gd name="connsiteX3" fmla="*/ 247097 w 3797371"/>
              <a:gd name="connsiteY3" fmla="*/ 4412340 h 4412340"/>
              <a:gd name="connsiteX4" fmla="*/ 0 w 3797371"/>
              <a:gd name="connsiteY4" fmla="*/ 2752782 h 4412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71" h="4412340">
                <a:moveTo>
                  <a:pt x="0" y="479305"/>
                </a:moveTo>
                <a:lnTo>
                  <a:pt x="3219108" y="0"/>
                </a:lnTo>
                <a:lnTo>
                  <a:pt x="3797371" y="3883727"/>
                </a:lnTo>
                <a:lnTo>
                  <a:pt x="247097" y="4412340"/>
                </a:lnTo>
                <a:lnTo>
                  <a:pt x="0" y="2752782"/>
                </a:lnTo>
                <a:close/>
              </a:path>
            </a:pathLst>
          </a:custGeom>
        </p:spPr>
      </p:pic>
      <p:pic>
        <p:nvPicPr>
          <p:cNvPr id="6" name="Imagem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110707">
            <a:off x="2926682" y="1569338"/>
            <a:ext cx="592108" cy="541356"/>
          </a:xfrm>
          <a:prstGeom prst="rect">
            <a:avLst/>
          </a:prstGeom>
        </p:spPr>
      </p:pic>
      <p:pic>
        <p:nvPicPr>
          <p:cNvPr id="9" name="Imagem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110707" flipH="1" flipV="1">
            <a:off x="8437046" y="4144249"/>
            <a:ext cx="454166" cy="565679"/>
          </a:xfrm>
          <a:prstGeom prst="rect">
            <a:avLst/>
          </a:prstGeom>
        </p:spPr>
      </p:pic>
      <p:sp>
        <p:nvSpPr>
          <p:cNvPr id="14" name="Retângulo 16"/>
          <p:cNvSpPr/>
          <p:nvPr/>
        </p:nvSpPr>
        <p:spPr>
          <a:xfrm>
            <a:off x="3848459" y="6113715"/>
            <a:ext cx="634235" cy="9341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Title 1"/>
          <p:cNvSpPr>
            <a:spLocks noGrp="1"/>
          </p:cNvSpPr>
          <p:nvPr>
            <p:ph type="ctrTitle" hasCustomPrompt="1"/>
          </p:nvPr>
        </p:nvSpPr>
        <p:spPr>
          <a:xfrm>
            <a:off x="3817458" y="2697174"/>
            <a:ext cx="4660991" cy="840230"/>
          </a:xfrm>
          <a:noFill/>
        </p:spPr>
        <p:txBody>
          <a:bodyPr wrap="square" lIns="0" rIns="0" rtlCol="0" anchor="ctr">
            <a:spAutoFit/>
          </a:bodyPr>
          <a:lstStyle>
            <a:lvl1pPr algn="ctr">
              <a:defRPr lang="en-US" sz="5400">
                <a:solidFill>
                  <a:srgbClr val="FFFFFF"/>
                </a:solidFill>
                <a:ea typeface="Calibri" charset="0"/>
                <a:cs typeface="Calibri" charset="0"/>
              </a:defRPr>
            </a:lvl1pPr>
          </a:lstStyle>
          <a:p>
            <a:pPr marL="0" lvl="0"/>
            <a:r>
              <a:rPr lang="en-US" dirty="0"/>
              <a:t>TEXTO</a:t>
            </a:r>
          </a:p>
        </p:txBody>
      </p:sp>
      <p:sp>
        <p:nvSpPr>
          <p:cNvPr id="3" name="Content Placeholder 2"/>
          <p:cNvSpPr>
            <a:spLocks noGrp="1"/>
          </p:cNvSpPr>
          <p:nvPr>
            <p:ph sz="quarter" idx="10" hasCustomPrompt="1"/>
          </p:nvPr>
        </p:nvSpPr>
        <p:spPr>
          <a:xfrm>
            <a:off x="3848459" y="5612647"/>
            <a:ext cx="4598988" cy="366713"/>
          </a:xfrm>
        </p:spPr>
        <p:txBody>
          <a:bodyPr/>
          <a:lstStyle>
            <a:lvl1pPr marL="0" indent="0">
              <a:buNone/>
              <a:defRPr sz="2800" b="1" baseline="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SOBRENOME, Nome</a:t>
            </a:r>
          </a:p>
        </p:txBody>
      </p:sp>
    </p:spTree>
    <p:extLst>
      <p:ext uri="{BB962C8B-B14F-4D97-AF65-F5344CB8AC3E}">
        <p14:creationId xmlns:p14="http://schemas.microsoft.com/office/powerpoint/2010/main" val="36791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Meia_Imagem">
    <p:bg>
      <p:bgPr>
        <a:solidFill>
          <a:schemeClr val="tx2">
            <a:lumMod val="95000"/>
          </a:schemeClr>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6"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Imagem 1"/>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95999" y="0"/>
            <a:ext cx="6066693" cy="6858000"/>
          </a:xfrm>
          <a:prstGeom prst="rect">
            <a:avLst/>
          </a:prstGeom>
        </p:spPr>
      </p:pic>
      <p:sp>
        <p:nvSpPr>
          <p:cNvPr id="8" name="Retângulo 5"/>
          <p:cNvSpPr/>
          <p:nvPr/>
        </p:nvSpPr>
        <p:spPr>
          <a:xfrm rot="10800000">
            <a:off x="6095998" y="0"/>
            <a:ext cx="6096001" cy="6858000"/>
          </a:xfrm>
          <a:prstGeom prst="rect">
            <a:avLst/>
          </a:prstGeom>
          <a:gradFill flip="none" rotWithShape="1">
            <a:gsLst>
              <a:gs pos="0">
                <a:schemeClr val="tx1"/>
              </a:gs>
              <a:gs pos="0">
                <a:srgbClr val="13243D">
                  <a:alpha val="39000"/>
                </a:srgbClr>
              </a:gs>
              <a:gs pos="41000">
                <a:srgbClr val="13243D">
                  <a:alpha val="40000"/>
                </a:srgbClr>
              </a:gs>
              <a:gs pos="98000">
                <a:srgbClr val="13243D">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Title Placeholder 1"/>
          <p:cNvSpPr>
            <a:spLocks noGrp="1"/>
          </p:cNvSpPr>
          <p:nvPr>
            <p:ph type="title" hasCustomPrompt="1"/>
          </p:nvPr>
        </p:nvSpPr>
        <p:spPr>
          <a:xfrm>
            <a:off x="531327" y="378854"/>
            <a:ext cx="5535364" cy="701731"/>
          </a:xfrm>
          <a:prstGeom prst="rect">
            <a:avLst/>
          </a:prstGeom>
          <a:noFill/>
        </p:spPr>
        <p:txBody>
          <a:bodyPr wrap="square" lIns="0" rIns="0" rtlCol="0" anchor="b">
            <a:spAutoFit/>
          </a:bodyPr>
          <a:lstStyle>
            <a:lvl1pPr>
              <a:defRPr/>
            </a:lvl1pPr>
          </a:lstStyle>
          <a:p>
            <a:pPr marL="0" lvl="0"/>
            <a:r>
              <a:rPr lang="en-US" dirty="0"/>
              <a:t>TÍTULO</a:t>
            </a:r>
          </a:p>
        </p:txBody>
      </p:sp>
      <p:sp>
        <p:nvSpPr>
          <p:cNvPr id="13" name="Content Placeholder 2"/>
          <p:cNvSpPr>
            <a:spLocks noGrp="1"/>
          </p:cNvSpPr>
          <p:nvPr>
            <p:ph idx="1" hasCustomPrompt="1"/>
          </p:nvPr>
        </p:nvSpPr>
        <p:spPr>
          <a:xfrm>
            <a:off x="531327" y="1987825"/>
            <a:ext cx="5535364" cy="4197822"/>
          </a:xfrm>
        </p:spPr>
        <p:txBody>
          <a:bodyPr/>
          <a:lstStyle>
            <a:lvl1pPr>
              <a:defRPr>
                <a:solidFill>
                  <a:srgbClr val="13243D"/>
                </a:solidFill>
              </a:defRPr>
            </a:lvl1pPr>
            <a:lvl2pPr>
              <a:defRPr>
                <a:solidFill>
                  <a:srgbClr val="13243D"/>
                </a:solidFill>
              </a:defRPr>
            </a:lvl2pPr>
          </a:lstStyle>
          <a:p>
            <a:pPr lvl="0"/>
            <a:r>
              <a:rPr lang="en-US" dirty="0" err="1"/>
              <a:t>Texto</a:t>
            </a:r>
            <a:endParaRPr lang="en-US" dirty="0"/>
          </a:p>
          <a:p>
            <a:pPr lvl="1"/>
            <a:r>
              <a:rPr lang="en-US" dirty="0" err="1"/>
              <a:t>Texto</a:t>
            </a:r>
            <a:endParaRPr lang="en-US" dirty="0"/>
          </a:p>
        </p:txBody>
      </p:sp>
      <p:sp>
        <p:nvSpPr>
          <p:cNvPr id="11"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28613765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Número">
    <p:bg>
      <p:bgPr>
        <a:solidFill>
          <a:schemeClr val="tx2">
            <a:lumMod val="95000"/>
          </a:schemeClr>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0"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8"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9" name="Title Placeholder 1"/>
          <p:cNvSpPr>
            <a:spLocks noGrp="1"/>
          </p:cNvSpPr>
          <p:nvPr>
            <p:ph type="title" hasCustomPrompt="1"/>
          </p:nvPr>
        </p:nvSpPr>
        <p:spPr>
          <a:xfrm>
            <a:off x="531327" y="378854"/>
            <a:ext cx="11158650" cy="701731"/>
          </a:xfrm>
          <a:prstGeom prst="rect">
            <a:avLst/>
          </a:prstGeom>
          <a:noFill/>
        </p:spPr>
        <p:txBody>
          <a:bodyPr wrap="square" lIns="0" rIns="0" rtlCol="0" anchor="b">
            <a:spAutoFit/>
          </a:bodyPr>
          <a:lstStyle>
            <a:lvl1pPr>
              <a:defRPr/>
            </a:lvl1pPr>
          </a:lstStyle>
          <a:p>
            <a:pPr marL="0" lvl="0"/>
            <a:r>
              <a:rPr lang="en-US" dirty="0"/>
              <a:t>TÍTULO</a:t>
            </a:r>
          </a:p>
        </p:txBody>
      </p:sp>
      <p:sp>
        <p:nvSpPr>
          <p:cNvPr id="7" name="Content Placeholder 2"/>
          <p:cNvSpPr>
            <a:spLocks noGrp="1"/>
          </p:cNvSpPr>
          <p:nvPr>
            <p:ph idx="1" hasCustomPrompt="1"/>
          </p:nvPr>
        </p:nvSpPr>
        <p:spPr>
          <a:xfrm>
            <a:off x="3162311" y="2924853"/>
            <a:ext cx="5867378" cy="1323439"/>
          </a:xfrm>
        </p:spPr>
        <p:txBody>
          <a:bodyPr anchor="ctr"/>
          <a:lstStyle>
            <a:lvl1pPr marL="0" indent="0" algn="ctr">
              <a:buNone/>
              <a:defRPr sz="8000" b="1" baseline="0">
                <a:solidFill>
                  <a:srgbClr val="13243D"/>
                </a:solidFill>
              </a:defRPr>
            </a:lvl1pPr>
            <a:lvl2pPr algn="ctr">
              <a:defRPr/>
            </a:lvl2pPr>
          </a:lstStyle>
          <a:p>
            <a:pPr lvl="0"/>
            <a:r>
              <a:rPr lang="en-US" dirty="0"/>
              <a:t>R$ 30.000,00</a:t>
            </a:r>
          </a:p>
        </p:txBody>
      </p:sp>
      <p:sp>
        <p:nvSpPr>
          <p:cNvPr id="8" name="Content Placeholder 2"/>
          <p:cNvSpPr>
            <a:spLocks noGrp="1"/>
          </p:cNvSpPr>
          <p:nvPr>
            <p:ph idx="10" hasCustomPrompt="1"/>
          </p:nvPr>
        </p:nvSpPr>
        <p:spPr>
          <a:xfrm>
            <a:off x="3162311" y="4314721"/>
            <a:ext cx="5867378" cy="461665"/>
          </a:xfrm>
        </p:spPr>
        <p:txBody>
          <a:bodyPr anchor="ctr"/>
          <a:lstStyle>
            <a:lvl1pPr marL="0" indent="0" algn="l">
              <a:buNone/>
              <a:defRPr sz="2400" b="0" baseline="0">
                <a:solidFill>
                  <a:srgbClr val="13243D"/>
                </a:solidFill>
              </a:defRPr>
            </a:lvl1pPr>
            <a:lvl2pPr algn="ctr">
              <a:defRPr/>
            </a:lvl2pPr>
          </a:lstStyle>
          <a:p>
            <a:pPr lvl="0"/>
            <a:r>
              <a:rPr lang="en-US" dirty="0" err="1"/>
              <a:t>Texto</a:t>
            </a:r>
            <a:r>
              <a:rPr lang="en-US" dirty="0"/>
              <a:t> </a:t>
            </a:r>
            <a:r>
              <a:rPr lang="en-US" dirty="0" err="1"/>
              <a:t>explicativo</a:t>
            </a:r>
            <a:endParaRPr lang="en-US" dirty="0"/>
          </a:p>
        </p:txBody>
      </p:sp>
    </p:spTree>
    <p:extLst>
      <p:ext uri="{BB962C8B-B14F-4D97-AF65-F5344CB8AC3E}">
        <p14:creationId xmlns:p14="http://schemas.microsoft.com/office/powerpoint/2010/main" val="32211558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echamento">
    <p:bg>
      <p:bgPr>
        <a:solidFill>
          <a:srgbClr val="85C440"/>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4"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Imagem 1"/>
          <p:cNvPicPr>
            <a:picLocks noChangeAspect="1"/>
          </p:cNvPicPr>
          <p:nvPr/>
        </p:nvPicPr>
        <p:blipFill>
          <a:blip r:embed="rId6"/>
          <a:stretch>
            <a:fillRect/>
          </a:stretch>
        </p:blipFill>
        <p:spPr>
          <a:xfrm>
            <a:off x="2726379" y="1896035"/>
            <a:ext cx="6739242" cy="2904564"/>
          </a:xfrm>
          <a:prstGeom prst="rect">
            <a:avLst/>
          </a:prstGeom>
        </p:spPr>
      </p:pic>
      <p:sp>
        <p:nvSpPr>
          <p:cNvPr id="13" name="CaixaDeTexto 40"/>
          <p:cNvSpPr txBox="1"/>
          <p:nvPr/>
        </p:nvSpPr>
        <p:spPr>
          <a:xfrm>
            <a:off x="4497662" y="5805397"/>
            <a:ext cx="3196676" cy="646331"/>
          </a:xfrm>
          <a:prstGeom prst="rect">
            <a:avLst/>
          </a:prstGeom>
          <a:noFill/>
        </p:spPr>
        <p:txBody>
          <a:bodyPr wrap="square" rtlCol="0" anchor="t">
            <a:spAutoFit/>
          </a:bodyPr>
          <a:lstStyle/>
          <a:p>
            <a:pPr marL="15875" algn="ctr"/>
            <a:r>
              <a:rPr lang="en-US" dirty="0">
                <a:latin typeface="Calibri Light" charset="0"/>
                <a:ea typeface="Calibri Light" charset="0"/>
                <a:cs typeface="Calibri Light" charset="0"/>
              </a:rPr>
              <a:t>contato@cieb.net.br</a:t>
            </a:r>
          </a:p>
          <a:p>
            <a:pPr marL="15875" algn="ctr"/>
            <a:r>
              <a:rPr lang="en-US" dirty="0">
                <a:latin typeface="Calibri Light" charset="0"/>
                <a:ea typeface="Calibri Light" charset="0"/>
                <a:cs typeface="Calibri Light" charset="0"/>
              </a:rPr>
              <a:t>11 3066.7271</a:t>
            </a:r>
            <a:endParaRPr lang="pt-BR" dirty="0">
              <a:latin typeface="Calibri Light" charset="0"/>
              <a:ea typeface="Calibri Light" charset="0"/>
              <a:cs typeface="Calibri Light" charset="0"/>
            </a:endParaRPr>
          </a:p>
        </p:txBody>
      </p:sp>
      <p:pic>
        <p:nvPicPr>
          <p:cNvPr id="14" name="Imagem 6"/>
          <p:cNvPicPr>
            <a:picLocks noChangeAspect="1"/>
          </p:cNvPicPr>
          <p:nvPr/>
        </p:nvPicPr>
        <p:blipFill rotWithShape="1">
          <a:blip r:embed="rId7" cstate="email">
            <a:biLevel thresh="75000"/>
            <a:alphaModFix amt="19000"/>
            <a:extLst>
              <a:ext uri="{28A0092B-C50C-407E-A947-70E740481C1C}">
                <a14:useLocalDpi xmlns:a14="http://schemas.microsoft.com/office/drawing/2010/main"/>
              </a:ext>
            </a:extLst>
          </a:blip>
          <a:srcRect l="-28246" t="-18183" r="31732" b="39441"/>
          <a:stretch/>
        </p:blipFill>
        <p:spPr>
          <a:xfrm rot="16200000">
            <a:off x="7348331" y="-26504"/>
            <a:ext cx="4817165" cy="4870174"/>
          </a:xfrm>
          <a:prstGeom prst="rect">
            <a:avLst/>
          </a:prstGeom>
        </p:spPr>
      </p:pic>
    </p:spTree>
    <p:extLst>
      <p:ext uri="{BB962C8B-B14F-4D97-AF65-F5344CB8AC3E}">
        <p14:creationId xmlns:p14="http://schemas.microsoft.com/office/powerpoint/2010/main" val="7222438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Blank">
    <p:bg>
      <p:bgPr>
        <a:solidFill>
          <a:schemeClr val="tx2">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015" y="1589"/>
          <a:ext cx="2015" cy="1587"/>
        </p:xfrm>
        <a:graphic>
          <a:graphicData uri="http://schemas.openxmlformats.org/presentationml/2006/ole">
            <mc:AlternateContent xmlns:mc="http://schemas.openxmlformats.org/markup-compatibility/2006">
              <mc:Choice xmlns:v="urn:schemas-microsoft-com:vml" Requires="v">
                <p:oleObj spid="_x0000_s6158" name="think-cell Slide" r:id="rId4" imgW="270" imgH="270" progId="TCLayout.ActiveDocument.1">
                  <p:embed/>
                </p:oleObj>
              </mc:Choice>
              <mc:Fallback>
                <p:oleObj name="think-cell Slide" r:id="rId4" imgW="270" imgH="27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15" y="1589"/>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481406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Conteúdo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7CBC6A32-C88E-444C-B0AD-015624CAE355}" type="datetimeFigureOut">
              <a:rPr lang="pt-BR" smtClean="0">
                <a:solidFill>
                  <a:prstClr val="black">
                    <a:tint val="75000"/>
                  </a:prstClr>
                </a:solidFill>
              </a:rPr>
              <a:pPr/>
              <a:t>06/06/2018</a:t>
            </a:fld>
            <a:endParaRPr lang="pt-BR">
              <a:solidFill>
                <a:prstClr val="black">
                  <a:tint val="75000"/>
                </a:prstClr>
              </a:solidFill>
            </a:endParaRPr>
          </a:p>
        </p:txBody>
      </p:sp>
      <p:sp>
        <p:nvSpPr>
          <p:cNvPr id="5" name="Espaço Reservado para Rodapé 4"/>
          <p:cNvSpPr>
            <a:spLocks noGrp="1"/>
          </p:cNvSpPr>
          <p:nvPr>
            <p:ph type="ftr" sz="quarter" idx="11"/>
          </p:nvPr>
        </p:nvSpPr>
        <p:spPr/>
        <p:txBody>
          <a:bodyPr/>
          <a:lstStyle/>
          <a:p>
            <a:endParaRPr lang="pt-BR">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353E0248-A4FE-9141-8DA8-B73960ECFD1A}" type="slidenum">
              <a:rPr lang="pt-BR" smtClean="0">
                <a:solidFill>
                  <a:prstClr val="black">
                    <a:tint val="75000"/>
                  </a:prstClr>
                </a:solidFill>
              </a:rPr>
              <a:pPr/>
              <a:t>‹nº›</a:t>
            </a:fld>
            <a:endParaRPr lang="pt-BR">
              <a:solidFill>
                <a:prstClr val="black">
                  <a:tint val="75000"/>
                </a:prstClr>
              </a:solidFill>
            </a:endParaRPr>
          </a:p>
        </p:txBody>
      </p:sp>
    </p:spTree>
    <p:extLst>
      <p:ext uri="{BB962C8B-B14F-4D97-AF65-F5344CB8AC3E}">
        <p14:creationId xmlns:p14="http://schemas.microsoft.com/office/powerpoint/2010/main" val="19964849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pt-BR"/>
              <a:t>Clique para editar estilo do título mestre</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7CBC6A32-C88E-444C-B0AD-015624CAE355}" type="datetimeFigureOut">
              <a:rPr lang="pt-BR" smtClean="0"/>
              <a:t>06/06/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12626477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Conteúdo 2"/>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7CBC6A32-C88E-444C-B0AD-015624CAE355}" type="datetimeFigureOut">
              <a:rPr lang="pt-BR" smtClean="0"/>
              <a:t>06/06/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37583685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pt-BR"/>
              <a:t>Clique para editar estilo do título mestre</a:t>
            </a:r>
          </a:p>
        </p:txBody>
      </p:sp>
      <p:sp>
        <p:nvSpPr>
          <p:cNvPr id="3" name="Espaço Reservado para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p:cNvSpPr>
            <a:spLocks noGrp="1"/>
          </p:cNvSpPr>
          <p:nvPr>
            <p:ph type="dt" sz="half" idx="10"/>
          </p:nvPr>
        </p:nvSpPr>
        <p:spPr/>
        <p:txBody>
          <a:bodyPr/>
          <a:lstStyle/>
          <a:p>
            <a:fld id="{7CBC6A32-C88E-444C-B0AD-015624CAE355}" type="datetimeFigureOut">
              <a:rPr lang="pt-BR" smtClean="0"/>
              <a:t>06/06/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29136021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Conteúdo 2"/>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7CBC6A32-C88E-444C-B0AD-015624CAE355}" type="datetimeFigureOut">
              <a:rPr lang="pt-BR" smtClean="0"/>
              <a:t>06/06/2018</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39398343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087014-F6FD-4F31-AAC3-E8677695A2C7}"/>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184037A9-397A-4003-89CF-35F5B62F9C8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Editar estilos de texto Mestre</a:t>
            </a:r>
          </a:p>
        </p:txBody>
      </p:sp>
      <p:sp>
        <p:nvSpPr>
          <p:cNvPr id="4" name="Espaço Reservado para Data 3">
            <a:extLst>
              <a:ext uri="{FF2B5EF4-FFF2-40B4-BE49-F238E27FC236}">
                <a16:creationId xmlns:a16="http://schemas.microsoft.com/office/drawing/2014/main" id="{B6A19FC8-E67D-43AA-A5CB-FCB0DCBA0056}"/>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5" name="Espaço Reservado para Rodapé 4">
            <a:extLst>
              <a:ext uri="{FF2B5EF4-FFF2-40B4-BE49-F238E27FC236}">
                <a16:creationId xmlns:a16="http://schemas.microsoft.com/office/drawing/2014/main" id="{FA4013D2-906B-46F3-AB61-52F22A4FDB23}"/>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8537B9E0-CF8D-42C3-B46C-9DBA44C91332}"/>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33249385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pt-BR"/>
              <a:t>Clique para editar estilo do título mestre</a:t>
            </a:r>
          </a:p>
        </p:txBody>
      </p:sp>
      <p:sp>
        <p:nvSpPr>
          <p:cNvPr id="3" name="Espaço Reservado para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7CBC6A32-C88E-444C-B0AD-015624CAE355}" type="datetimeFigureOut">
              <a:rPr lang="pt-BR" smtClean="0"/>
              <a:t>06/06/2018</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3911500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Data 2"/>
          <p:cNvSpPr>
            <a:spLocks noGrp="1"/>
          </p:cNvSpPr>
          <p:nvPr>
            <p:ph type="dt" sz="half" idx="10"/>
          </p:nvPr>
        </p:nvSpPr>
        <p:spPr/>
        <p:txBody>
          <a:bodyPr/>
          <a:lstStyle/>
          <a:p>
            <a:fld id="{7CBC6A32-C88E-444C-B0AD-015624CAE355}" type="datetimeFigureOut">
              <a:rPr lang="pt-BR" smtClean="0"/>
              <a:t>06/06/2018</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5843462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7CBC6A32-C88E-444C-B0AD-015624CAE355}" type="datetimeFigureOut">
              <a:rPr lang="pt-BR" smtClean="0"/>
              <a:t>06/06/2018</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20918783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a:t>Clique para editar estilo do título mestre</a:t>
            </a:r>
          </a:p>
        </p:txBody>
      </p:sp>
      <p:sp>
        <p:nvSpPr>
          <p:cNvPr id="3" name="Espaço Reservado para Conteú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7CBC6A32-C88E-444C-B0AD-015624CAE355}" type="datetimeFigureOut">
              <a:rPr lang="pt-BR" smtClean="0"/>
              <a:t>06/06/2018</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18240911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a:t>Clique para editar estilo do título mestre</a:t>
            </a:r>
          </a:p>
        </p:txBody>
      </p:sp>
      <p:sp>
        <p:nvSpPr>
          <p:cNvPr id="3" name="Espaço Reservado para Imagem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p:cNvSpPr>
            <a:spLocks noGrp="1"/>
          </p:cNvSpPr>
          <p:nvPr>
            <p:ph type="dt" sz="half" idx="10"/>
          </p:nvPr>
        </p:nvSpPr>
        <p:spPr/>
        <p:txBody>
          <a:bodyPr/>
          <a:lstStyle/>
          <a:p>
            <a:fld id="{7CBC6A32-C88E-444C-B0AD-015624CAE355}" type="datetimeFigureOut">
              <a:rPr lang="pt-BR" smtClean="0"/>
              <a:t>06/06/2018</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42135769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estilo do título mestre</a:t>
            </a:r>
          </a:p>
        </p:txBody>
      </p:sp>
      <p:sp>
        <p:nvSpPr>
          <p:cNvPr id="3" name="Espaço Reservado para Texto Vertical 2"/>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7CBC6A32-C88E-444C-B0AD-015624CAE355}" type="datetimeFigureOut">
              <a:rPr lang="pt-BR" smtClean="0"/>
              <a:t>06/06/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3260376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pt-BR"/>
              <a:t>Clique para editar estilo do título mestre</a:t>
            </a:r>
          </a:p>
        </p:txBody>
      </p:sp>
      <p:sp>
        <p:nvSpPr>
          <p:cNvPr id="3" name="Espaço Reservado para Texto Vertical 2"/>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7CBC6A32-C88E-444C-B0AD-015624CAE355}" type="datetimeFigureOut">
              <a:rPr lang="pt-BR" smtClean="0"/>
              <a:t>06/06/2018</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353E0248-A4FE-9141-8DA8-B73960ECFD1A}" type="slidenum">
              <a:rPr lang="pt-BR" smtClean="0"/>
              <a:t>‹nº›</a:t>
            </a:fld>
            <a:endParaRPr lang="pt-BR"/>
          </a:p>
        </p:txBody>
      </p:sp>
    </p:spTree>
    <p:extLst>
      <p:ext uri="{BB962C8B-B14F-4D97-AF65-F5344CB8AC3E}">
        <p14:creationId xmlns:p14="http://schemas.microsoft.com/office/powerpoint/2010/main" val="40379162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Date Placeholder 3"/>
          <p:cNvSpPr>
            <a:spLocks noGrp="1"/>
          </p:cNvSpPr>
          <p:nvPr>
            <p:ph type="dt" sz="half" idx="10"/>
          </p:nvPr>
        </p:nvSpPr>
        <p:spPr>
          <a:xfrm>
            <a:off x="609600" y="8333734"/>
            <a:ext cx="2844800" cy="365125"/>
          </a:xfrm>
          <a:prstGeom prst="rect">
            <a:avLst/>
          </a:prstGeom>
        </p:spPr>
        <p:txBody>
          <a:bodyPr/>
          <a:lstStyle/>
          <a:p>
            <a:r>
              <a:rPr lang="en-US" dirty="0"/>
              <a:t>www.bestppt.com</a:t>
            </a:r>
          </a:p>
        </p:txBody>
      </p:sp>
      <p:sp>
        <p:nvSpPr>
          <p:cNvPr id="6" name="Slide Number Placeholder 5"/>
          <p:cNvSpPr>
            <a:spLocks noGrp="1"/>
          </p:cNvSpPr>
          <p:nvPr>
            <p:ph type="sldNum" sz="quarter" idx="12"/>
          </p:nvPr>
        </p:nvSpPr>
        <p:spPr/>
        <p:txBody>
          <a:bodyPr/>
          <a:lstStyle/>
          <a:p>
            <a:fld id="{D60D1EDE-7116-2443-9BDD-368CE5B37660}" type="slidenum">
              <a:rPr lang="en-US" smtClean="0"/>
              <a:t>‹nº›</a:t>
            </a:fld>
            <a:endParaRPr lang="en-US" dirty="0"/>
          </a:p>
        </p:txBody>
      </p:sp>
    </p:spTree>
    <p:extLst>
      <p:ext uri="{BB962C8B-B14F-4D97-AF65-F5344CB8AC3E}">
        <p14:creationId xmlns:p14="http://schemas.microsoft.com/office/powerpoint/2010/main" val="32913243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ítulo_1">
    <p:bg>
      <p:bgPr>
        <a:solidFill>
          <a:srgbClr val="85C440"/>
        </a:solidFill>
        <a:effectLst/>
      </p:bgPr>
    </p:bg>
    <p:spTree>
      <p:nvGrpSpPr>
        <p:cNvPr id="1" name=""/>
        <p:cNvGrpSpPr/>
        <p:nvPr/>
      </p:nvGrpSpPr>
      <p:grpSpPr>
        <a:xfrm>
          <a:off x="0" y="0"/>
          <a:ext cx="0" cy="0"/>
          <a:chOff x="0" y="0"/>
          <a:chExt cx="0" cy="0"/>
        </a:xfrm>
      </p:grpSpPr>
      <p:pic>
        <p:nvPicPr>
          <p:cNvPr id="14" name="Imagem 5"/>
          <p:cNvPicPr>
            <a:picLocks noChangeAspect="1"/>
          </p:cNvPicPr>
          <p:nvPr/>
        </p:nvPicPr>
        <p:blipFill>
          <a:blip r:embed="rId2"/>
          <a:stretch>
            <a:fillRect/>
          </a:stretch>
        </p:blipFill>
        <p:spPr>
          <a:xfrm>
            <a:off x="2148590" y="1272851"/>
            <a:ext cx="7894820" cy="4312298"/>
          </a:xfrm>
          <a:prstGeom prst="rect">
            <a:avLst/>
          </a:prstGeom>
        </p:spPr>
      </p:pic>
      <p:pic>
        <p:nvPicPr>
          <p:cNvPr id="3" name="Imagem 5"/>
          <p:cNvPicPr>
            <a:picLocks noChangeAspect="1"/>
          </p:cNvPicPr>
          <p:nvPr/>
        </p:nvPicPr>
        <p:blipFill>
          <a:blip r:embed="rId2"/>
          <a:stretch>
            <a:fillRect/>
          </a:stretch>
        </p:blipFill>
        <p:spPr>
          <a:xfrm>
            <a:off x="2148590" y="1272851"/>
            <a:ext cx="7894820" cy="4312298"/>
          </a:xfrm>
          <a:prstGeom prst="rect">
            <a:avLst/>
          </a:prstGeom>
        </p:spPr>
      </p:pic>
    </p:spTree>
    <p:extLst>
      <p:ext uri="{BB962C8B-B14F-4D97-AF65-F5344CB8AC3E}">
        <p14:creationId xmlns:p14="http://schemas.microsoft.com/office/powerpoint/2010/main" val="23099701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ítulo_2">
    <p:spTree>
      <p:nvGrpSpPr>
        <p:cNvPr id="1" name=""/>
        <p:cNvGrpSpPr/>
        <p:nvPr/>
      </p:nvGrpSpPr>
      <p:grpSpPr>
        <a:xfrm>
          <a:off x="0" y="0"/>
          <a:ext cx="0" cy="0"/>
          <a:chOff x="0" y="0"/>
          <a:chExt cx="0" cy="0"/>
        </a:xfrm>
      </p:grpSpPr>
      <p:sp>
        <p:nvSpPr>
          <p:cNvPr id="7" name="Retângulo 7"/>
          <p:cNvSpPr/>
          <p:nvPr/>
        </p:nvSpPr>
        <p:spPr>
          <a:xfrm>
            <a:off x="382557" y="5903258"/>
            <a:ext cx="1990529" cy="276111"/>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Content Placeholder 2"/>
          <p:cNvSpPr>
            <a:spLocks noGrp="1"/>
          </p:cNvSpPr>
          <p:nvPr>
            <p:ph idx="10" hasCustomPrompt="1"/>
          </p:nvPr>
        </p:nvSpPr>
        <p:spPr>
          <a:xfrm>
            <a:off x="382558" y="2944034"/>
            <a:ext cx="10096498" cy="2800767"/>
          </a:xfrm>
        </p:spPr>
        <p:txBody>
          <a:bodyPr anchor="b"/>
          <a:lstStyle>
            <a:lvl1pPr marL="0" indent="0">
              <a:buNone/>
              <a:defRPr sz="8800" b="1">
                <a:solidFill>
                  <a:srgbClr val="14233D"/>
                </a:solidFill>
                <a:latin typeface="+mn-lt"/>
              </a:defRPr>
            </a:lvl1pPr>
            <a:lvl2pPr>
              <a:defRPr sz="2400">
                <a:solidFill>
                  <a:srgbClr val="FFFFFF"/>
                </a:solidFill>
              </a:defRPr>
            </a:lvl2pPr>
            <a:lvl3pPr>
              <a:defRPr sz="2400">
                <a:solidFill>
                  <a:srgbClr val="FFFFFF"/>
                </a:solidFill>
              </a:defRPr>
            </a:lvl3pPr>
            <a:lvl4pPr>
              <a:defRPr sz="2400">
                <a:solidFill>
                  <a:srgbClr val="FFFFFF"/>
                </a:solidFill>
              </a:defRPr>
            </a:lvl4pPr>
            <a:lvl5pPr>
              <a:defRPr sz="2400">
                <a:solidFill>
                  <a:srgbClr val="FFFFFF"/>
                </a:solidFill>
              </a:defRPr>
            </a:lvl5pPr>
          </a:lstStyle>
          <a:p>
            <a:pPr lvl="0"/>
            <a:r>
              <a:rPr lang="en-US" dirty="0"/>
              <a:t>TÍTULO</a:t>
            </a:r>
          </a:p>
        </p:txBody>
      </p:sp>
      <p:pic>
        <p:nvPicPr>
          <p:cNvPr id="11" name="Imagem 6"/>
          <p:cNvPicPr>
            <a:picLocks noChangeAspect="1"/>
          </p:cNvPicPr>
          <p:nvPr/>
        </p:nvPicPr>
        <p:blipFill rotWithShape="1">
          <a:blip r:embed="rId2">
            <a:biLevel thresh="75000"/>
            <a:alphaModFix amt="19000"/>
          </a:blip>
          <a:srcRect l="-41533" t="-16108" r="13290" b="37366"/>
          <a:stretch/>
        </p:blipFill>
        <p:spPr>
          <a:xfrm rot="10800000">
            <a:off x="-1" y="0"/>
            <a:ext cx="6400800" cy="4870174"/>
          </a:xfrm>
          <a:prstGeom prst="rect">
            <a:avLst/>
          </a:prstGeom>
        </p:spPr>
      </p:pic>
      <p:pic>
        <p:nvPicPr>
          <p:cNvPr id="13" name="Imagem 2"/>
          <p:cNvPicPr>
            <a:picLocks noChangeAspect="1"/>
          </p:cNvPicPr>
          <p:nvPr/>
        </p:nvPicPr>
        <p:blipFill>
          <a:blip r:embed="rId3"/>
          <a:stretch>
            <a:fillRect/>
          </a:stretch>
        </p:blipFill>
        <p:spPr>
          <a:xfrm>
            <a:off x="9524666" y="349616"/>
            <a:ext cx="2222500" cy="2260600"/>
          </a:xfrm>
          <a:prstGeom prst="rect">
            <a:avLst/>
          </a:prstGeom>
        </p:spPr>
      </p:pic>
      <p:sp>
        <p:nvSpPr>
          <p:cNvPr id="6" name="Retângulo 7"/>
          <p:cNvSpPr/>
          <p:nvPr/>
        </p:nvSpPr>
        <p:spPr>
          <a:xfrm>
            <a:off x="382557" y="5903258"/>
            <a:ext cx="1990529" cy="276111"/>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8" name="Imagem 6"/>
          <p:cNvPicPr>
            <a:picLocks noChangeAspect="1"/>
          </p:cNvPicPr>
          <p:nvPr/>
        </p:nvPicPr>
        <p:blipFill rotWithShape="1">
          <a:blip r:embed="rId2">
            <a:biLevel thresh="75000"/>
            <a:alphaModFix amt="19000"/>
          </a:blip>
          <a:srcRect l="-41533" t="-16108" r="13290" b="37366"/>
          <a:stretch/>
        </p:blipFill>
        <p:spPr>
          <a:xfrm rot="10800000">
            <a:off x="-1" y="0"/>
            <a:ext cx="6400800" cy="4870174"/>
          </a:xfrm>
          <a:prstGeom prst="rect">
            <a:avLst/>
          </a:prstGeom>
        </p:spPr>
      </p:pic>
      <p:pic>
        <p:nvPicPr>
          <p:cNvPr id="10" name="Imagem 2"/>
          <p:cNvPicPr>
            <a:picLocks noChangeAspect="1"/>
          </p:cNvPicPr>
          <p:nvPr/>
        </p:nvPicPr>
        <p:blipFill>
          <a:blip r:embed="rId3"/>
          <a:stretch>
            <a:fillRect/>
          </a:stretch>
        </p:blipFill>
        <p:spPr>
          <a:xfrm>
            <a:off x="9524666" y="349616"/>
            <a:ext cx="2222500" cy="2260600"/>
          </a:xfrm>
          <a:prstGeom prst="rect">
            <a:avLst/>
          </a:prstGeom>
        </p:spPr>
      </p:pic>
    </p:spTree>
    <p:extLst>
      <p:ext uri="{BB962C8B-B14F-4D97-AF65-F5344CB8AC3E}">
        <p14:creationId xmlns:p14="http://schemas.microsoft.com/office/powerpoint/2010/main" val="30389056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E0E2A8-63CA-4F1E-9FD3-9B8DEE513BCD}"/>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8D0A060A-D21C-4296-908A-00C3A517E028}"/>
              </a:ext>
            </a:extLst>
          </p:cNvPr>
          <p:cNvSpPr>
            <a:spLocks noGrp="1"/>
          </p:cNvSpPr>
          <p:nvPr>
            <p:ph sz="half" idx="1"/>
          </p:nvPr>
        </p:nvSpPr>
        <p:spPr>
          <a:xfrm>
            <a:off x="838200" y="1825625"/>
            <a:ext cx="51816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555E86B6-B773-4C6F-8140-AADCFF741C0B}"/>
              </a:ext>
            </a:extLst>
          </p:cNvPr>
          <p:cNvSpPr>
            <a:spLocks noGrp="1"/>
          </p:cNvSpPr>
          <p:nvPr>
            <p:ph sz="half" idx="2"/>
          </p:nvPr>
        </p:nvSpPr>
        <p:spPr>
          <a:xfrm>
            <a:off x="6172200" y="1825625"/>
            <a:ext cx="51816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E5697628-40E8-4DCD-9FD5-1A8B1E818FF3}"/>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6" name="Espaço Reservado para Rodapé 5">
            <a:extLst>
              <a:ext uri="{FF2B5EF4-FFF2-40B4-BE49-F238E27FC236}">
                <a16:creationId xmlns:a16="http://schemas.microsoft.com/office/drawing/2014/main" id="{736C9349-A00F-47B1-8B62-AF0FBAC0E2EE}"/>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93473ADB-2EDE-48B8-A59E-D4D2FE720B49}"/>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24874676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ítulo_3">
    <p:bg>
      <p:bgPr>
        <a:solidFill>
          <a:srgbClr val="14233D"/>
        </a:solidFill>
        <a:effectLst/>
      </p:bgPr>
    </p:bg>
    <p:spTree>
      <p:nvGrpSpPr>
        <p:cNvPr id="1" name=""/>
        <p:cNvGrpSpPr/>
        <p:nvPr/>
      </p:nvGrpSpPr>
      <p:grpSpPr>
        <a:xfrm>
          <a:off x="0" y="0"/>
          <a:ext cx="0" cy="0"/>
          <a:chOff x="0" y="0"/>
          <a:chExt cx="0" cy="0"/>
        </a:xfrm>
      </p:grpSpPr>
      <p:pic>
        <p:nvPicPr>
          <p:cNvPr id="11" name="Imagem 5"/>
          <p:cNvPicPr>
            <a:picLocks noChangeAspect="1"/>
          </p:cNvPicPr>
          <p:nvPr/>
        </p:nvPicPr>
        <p:blipFill rotWithShape="1">
          <a:blip r:embed="rId2">
            <a:biLevel thresh="75000"/>
            <a:lum bright="100000"/>
            <a:alphaModFix amt="11000"/>
          </a:blip>
          <a:srcRect l="-41533" t="-16108" r="13290" b="37366"/>
          <a:stretch/>
        </p:blipFill>
        <p:spPr>
          <a:xfrm rot="10800000">
            <a:off x="-1" y="0"/>
            <a:ext cx="6400800" cy="4870174"/>
          </a:xfrm>
          <a:prstGeom prst="rect">
            <a:avLst/>
          </a:prstGeom>
        </p:spPr>
      </p:pic>
      <p:sp>
        <p:nvSpPr>
          <p:cNvPr id="7" name="Retângulo 7"/>
          <p:cNvSpPr/>
          <p:nvPr/>
        </p:nvSpPr>
        <p:spPr>
          <a:xfrm>
            <a:off x="382557" y="5903258"/>
            <a:ext cx="1990529" cy="276111"/>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8" name="Imagem 2"/>
          <p:cNvPicPr>
            <a:picLocks noChangeAspect="1"/>
          </p:cNvPicPr>
          <p:nvPr/>
        </p:nvPicPr>
        <p:blipFill>
          <a:blip r:embed="rId3"/>
          <a:stretch>
            <a:fillRect/>
          </a:stretch>
        </p:blipFill>
        <p:spPr>
          <a:xfrm>
            <a:off x="9522113" y="349616"/>
            <a:ext cx="2222500" cy="2260600"/>
          </a:xfrm>
          <a:prstGeom prst="rect">
            <a:avLst/>
          </a:prstGeom>
        </p:spPr>
      </p:pic>
      <p:sp>
        <p:nvSpPr>
          <p:cNvPr id="10" name="Content Placeholder 2"/>
          <p:cNvSpPr>
            <a:spLocks noGrp="1"/>
          </p:cNvSpPr>
          <p:nvPr>
            <p:ph idx="10" hasCustomPrompt="1"/>
          </p:nvPr>
        </p:nvSpPr>
        <p:spPr>
          <a:xfrm>
            <a:off x="382558" y="2944034"/>
            <a:ext cx="10096498" cy="2800767"/>
          </a:xfrm>
        </p:spPr>
        <p:txBody>
          <a:bodyPr anchor="b"/>
          <a:lstStyle>
            <a:lvl1pPr marL="0" indent="0">
              <a:buNone/>
              <a:defRPr sz="8800" b="1">
                <a:solidFill>
                  <a:srgbClr val="FFFFFF"/>
                </a:solidFill>
                <a:latin typeface="+mn-lt"/>
              </a:defRPr>
            </a:lvl1pPr>
            <a:lvl2pPr>
              <a:defRPr sz="2400">
                <a:solidFill>
                  <a:srgbClr val="FFFFFF"/>
                </a:solidFill>
              </a:defRPr>
            </a:lvl2pPr>
            <a:lvl3pPr>
              <a:defRPr sz="2400">
                <a:solidFill>
                  <a:srgbClr val="FFFFFF"/>
                </a:solidFill>
              </a:defRPr>
            </a:lvl3pPr>
            <a:lvl4pPr>
              <a:defRPr sz="2400">
                <a:solidFill>
                  <a:srgbClr val="FFFFFF"/>
                </a:solidFill>
              </a:defRPr>
            </a:lvl4pPr>
            <a:lvl5pPr>
              <a:defRPr sz="2400">
                <a:solidFill>
                  <a:srgbClr val="FFFFFF"/>
                </a:solidFill>
              </a:defRPr>
            </a:lvl5pPr>
          </a:lstStyle>
          <a:p>
            <a:pPr lvl="0"/>
            <a:r>
              <a:rPr lang="en-US" dirty="0"/>
              <a:t>TÍTULO</a:t>
            </a:r>
          </a:p>
        </p:txBody>
      </p:sp>
      <p:pic>
        <p:nvPicPr>
          <p:cNvPr id="6" name="Imagem 5"/>
          <p:cNvPicPr>
            <a:picLocks noChangeAspect="1"/>
          </p:cNvPicPr>
          <p:nvPr/>
        </p:nvPicPr>
        <p:blipFill rotWithShape="1">
          <a:blip r:embed="rId2">
            <a:biLevel thresh="75000"/>
            <a:lum bright="100000"/>
            <a:alphaModFix amt="11000"/>
          </a:blip>
          <a:srcRect l="-41533" t="-16108" r="13290" b="37366"/>
          <a:stretch/>
        </p:blipFill>
        <p:spPr>
          <a:xfrm rot="10800000">
            <a:off x="-1" y="0"/>
            <a:ext cx="6400800" cy="4870174"/>
          </a:xfrm>
          <a:prstGeom prst="rect">
            <a:avLst/>
          </a:prstGeom>
        </p:spPr>
      </p:pic>
      <p:sp>
        <p:nvSpPr>
          <p:cNvPr id="9" name="Retângulo 7"/>
          <p:cNvSpPr/>
          <p:nvPr/>
        </p:nvSpPr>
        <p:spPr>
          <a:xfrm>
            <a:off x="382557" y="5903258"/>
            <a:ext cx="1990529" cy="276111"/>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2" name="Imagem 2"/>
          <p:cNvPicPr>
            <a:picLocks noChangeAspect="1"/>
          </p:cNvPicPr>
          <p:nvPr/>
        </p:nvPicPr>
        <p:blipFill>
          <a:blip r:embed="rId3"/>
          <a:stretch>
            <a:fillRect/>
          </a:stretch>
        </p:blipFill>
        <p:spPr>
          <a:xfrm>
            <a:off x="9522113" y="349616"/>
            <a:ext cx="2222500" cy="2260600"/>
          </a:xfrm>
          <a:prstGeom prst="rect">
            <a:avLst/>
          </a:prstGeom>
        </p:spPr>
      </p:pic>
    </p:spTree>
    <p:extLst>
      <p:ext uri="{BB962C8B-B14F-4D97-AF65-F5344CB8AC3E}">
        <p14:creationId xmlns:p14="http://schemas.microsoft.com/office/powerpoint/2010/main" val="14855292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bertura">
    <p:bg>
      <p:bgPr>
        <a:solidFill>
          <a:srgbClr val="14233D"/>
        </a:solidFill>
        <a:effectLst/>
      </p:bgPr>
    </p:bg>
    <p:spTree>
      <p:nvGrpSpPr>
        <p:cNvPr id="1" name=""/>
        <p:cNvGrpSpPr/>
        <p:nvPr/>
      </p:nvGrpSpPr>
      <p:grpSpPr>
        <a:xfrm>
          <a:off x="0" y="0"/>
          <a:ext cx="0" cy="0"/>
          <a:chOff x="0" y="0"/>
          <a:chExt cx="0" cy="0"/>
        </a:xfrm>
      </p:grpSpPr>
      <p:pic>
        <p:nvPicPr>
          <p:cNvPr id="6" name="Imagem 5"/>
          <p:cNvPicPr>
            <a:picLocks noChangeAspect="1"/>
          </p:cNvPicPr>
          <p:nvPr/>
        </p:nvPicPr>
        <p:blipFill rotWithShape="1">
          <a:blip r:embed="rId2">
            <a:biLevel thresh="75000"/>
            <a:lum bright="100000"/>
            <a:alphaModFix amt="11000"/>
          </a:blip>
          <a:srcRect l="-41825" t="-9068" r="13582" b="30326"/>
          <a:stretch/>
        </p:blipFill>
        <p:spPr>
          <a:xfrm>
            <a:off x="5791200" y="1987826"/>
            <a:ext cx="6400800" cy="4870174"/>
          </a:xfrm>
          <a:prstGeom prst="rect">
            <a:avLst/>
          </a:prstGeom>
        </p:spPr>
      </p:pic>
      <p:sp>
        <p:nvSpPr>
          <p:cNvPr id="8" name="Retângulo 2"/>
          <p:cNvSpPr/>
          <p:nvPr/>
        </p:nvSpPr>
        <p:spPr>
          <a:xfrm>
            <a:off x="663819" y="3300457"/>
            <a:ext cx="1846934" cy="257086"/>
          </a:xfrm>
          <a:prstGeom prst="rect">
            <a:avLst/>
          </a:prstGeom>
          <a:solidFill>
            <a:srgbClr val="FFF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Content Placeholder 2"/>
          <p:cNvSpPr>
            <a:spLocks noGrp="1"/>
          </p:cNvSpPr>
          <p:nvPr>
            <p:ph idx="1" hasCustomPrompt="1"/>
          </p:nvPr>
        </p:nvSpPr>
        <p:spPr>
          <a:xfrm>
            <a:off x="628649" y="3951505"/>
            <a:ext cx="6721720" cy="830997"/>
          </a:xfrm>
        </p:spPr>
        <p:txBody>
          <a:bodyPr/>
          <a:lstStyle>
            <a:lvl1pPr marL="0" indent="0">
              <a:buNone/>
              <a:defRPr sz="2400">
                <a:solidFill>
                  <a:srgbClr val="FFFFFF"/>
                </a:solidFill>
              </a:defRPr>
            </a:lvl1pPr>
            <a:lvl2pPr>
              <a:defRPr sz="2400">
                <a:solidFill>
                  <a:srgbClr val="FFFFFF"/>
                </a:solidFill>
              </a:defRPr>
            </a:lvl2pPr>
            <a:lvl3pPr>
              <a:defRPr sz="2400">
                <a:solidFill>
                  <a:srgbClr val="FFFFFF"/>
                </a:solidFill>
              </a:defRPr>
            </a:lvl3pPr>
            <a:lvl4pPr>
              <a:defRPr sz="2400">
                <a:solidFill>
                  <a:srgbClr val="FFFFFF"/>
                </a:solidFill>
              </a:defRPr>
            </a:lvl4pPr>
            <a:lvl5pPr>
              <a:defRPr sz="2400">
                <a:solidFill>
                  <a:srgbClr val="FFFFFF"/>
                </a:solidFill>
              </a:defRPr>
            </a:lvl5pPr>
          </a:lstStyle>
          <a:p>
            <a:pPr lvl="0"/>
            <a:r>
              <a:rPr lang="en-US" dirty="0" err="1"/>
              <a:t>Texto</a:t>
            </a:r>
            <a:endParaRPr lang="en-US" dirty="0"/>
          </a:p>
        </p:txBody>
      </p:sp>
      <p:sp>
        <p:nvSpPr>
          <p:cNvPr id="16" name="Content Placeholder 2"/>
          <p:cNvSpPr>
            <a:spLocks noGrp="1"/>
          </p:cNvSpPr>
          <p:nvPr>
            <p:ph idx="10" hasCustomPrompt="1"/>
          </p:nvPr>
        </p:nvSpPr>
        <p:spPr>
          <a:xfrm>
            <a:off x="628650" y="1796364"/>
            <a:ext cx="6721719" cy="1089529"/>
          </a:xfrm>
        </p:spPr>
        <p:txBody>
          <a:bodyPr anchor="b"/>
          <a:lstStyle>
            <a:lvl1pPr marL="0" indent="0">
              <a:buNone/>
              <a:defRPr sz="7200" b="1">
                <a:solidFill>
                  <a:srgbClr val="FFFFFF"/>
                </a:solidFill>
                <a:latin typeface="+mn-lt"/>
              </a:defRPr>
            </a:lvl1pPr>
            <a:lvl2pPr>
              <a:defRPr sz="2400">
                <a:solidFill>
                  <a:srgbClr val="FFFFFF"/>
                </a:solidFill>
              </a:defRPr>
            </a:lvl2pPr>
            <a:lvl3pPr>
              <a:defRPr sz="2400">
                <a:solidFill>
                  <a:srgbClr val="FFFFFF"/>
                </a:solidFill>
              </a:defRPr>
            </a:lvl3pPr>
            <a:lvl4pPr>
              <a:defRPr sz="2400">
                <a:solidFill>
                  <a:srgbClr val="FFFFFF"/>
                </a:solidFill>
              </a:defRPr>
            </a:lvl4pPr>
            <a:lvl5pPr>
              <a:defRPr sz="2400">
                <a:solidFill>
                  <a:srgbClr val="FFFFFF"/>
                </a:solidFill>
              </a:defRPr>
            </a:lvl5pPr>
          </a:lstStyle>
          <a:p>
            <a:pPr lvl="0"/>
            <a:r>
              <a:rPr lang="en-US" dirty="0"/>
              <a:t>TÍTULO</a:t>
            </a:r>
          </a:p>
        </p:txBody>
      </p:sp>
      <p:pic>
        <p:nvPicPr>
          <p:cNvPr id="7" name="Imagem 5"/>
          <p:cNvPicPr>
            <a:picLocks noChangeAspect="1"/>
          </p:cNvPicPr>
          <p:nvPr/>
        </p:nvPicPr>
        <p:blipFill rotWithShape="1">
          <a:blip r:embed="rId2">
            <a:biLevel thresh="75000"/>
            <a:lum bright="100000"/>
            <a:alphaModFix amt="11000"/>
          </a:blip>
          <a:srcRect l="-41825" t="-9068" r="13582" b="30326"/>
          <a:stretch/>
        </p:blipFill>
        <p:spPr>
          <a:xfrm>
            <a:off x="5791200" y="1987826"/>
            <a:ext cx="6400800" cy="4870174"/>
          </a:xfrm>
          <a:prstGeom prst="rect">
            <a:avLst/>
          </a:prstGeom>
        </p:spPr>
      </p:pic>
      <p:sp>
        <p:nvSpPr>
          <p:cNvPr id="9" name="Retângulo 2"/>
          <p:cNvSpPr/>
          <p:nvPr/>
        </p:nvSpPr>
        <p:spPr>
          <a:xfrm>
            <a:off x="663819" y="3300457"/>
            <a:ext cx="1846934" cy="257086"/>
          </a:xfrm>
          <a:prstGeom prst="rect">
            <a:avLst/>
          </a:prstGeom>
          <a:solidFill>
            <a:srgbClr val="FFF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7134630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ítulo_Capítulo">
    <p:bg>
      <p:bgPr>
        <a:solidFill>
          <a:srgbClr val="14233D"/>
        </a:solidFill>
        <a:effectLst/>
      </p:bgPr>
    </p:bg>
    <p:spTree>
      <p:nvGrpSpPr>
        <p:cNvPr id="1" name=""/>
        <p:cNvGrpSpPr/>
        <p:nvPr/>
      </p:nvGrpSpPr>
      <p:grpSpPr>
        <a:xfrm>
          <a:off x="0" y="0"/>
          <a:ext cx="0" cy="0"/>
          <a:chOff x="0" y="0"/>
          <a:chExt cx="0" cy="0"/>
        </a:xfrm>
      </p:grpSpPr>
      <p:sp>
        <p:nvSpPr>
          <p:cNvPr id="9" name="Retângulo 2"/>
          <p:cNvSpPr/>
          <p:nvPr/>
        </p:nvSpPr>
        <p:spPr>
          <a:xfrm>
            <a:off x="10263554" y="3300457"/>
            <a:ext cx="920262" cy="257086"/>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1" name="Imagem 5"/>
          <p:cNvPicPr>
            <a:picLocks noChangeAspect="1"/>
          </p:cNvPicPr>
          <p:nvPr/>
        </p:nvPicPr>
        <p:blipFill rotWithShape="1">
          <a:blip r:embed="rId2">
            <a:biLevel thresh="75000"/>
            <a:lum bright="100000"/>
            <a:alphaModFix amt="11000"/>
          </a:blip>
          <a:srcRect l="-41533" t="-16108" r="13290" b="37366"/>
          <a:stretch/>
        </p:blipFill>
        <p:spPr>
          <a:xfrm rot="10800000">
            <a:off x="-1" y="0"/>
            <a:ext cx="6400800" cy="4870174"/>
          </a:xfrm>
          <a:prstGeom prst="rect">
            <a:avLst/>
          </a:prstGeom>
        </p:spPr>
      </p:pic>
      <p:sp>
        <p:nvSpPr>
          <p:cNvPr id="12" name="Title Placeholder 1"/>
          <p:cNvSpPr>
            <a:spLocks noGrp="1"/>
          </p:cNvSpPr>
          <p:nvPr>
            <p:ph type="title" hasCustomPrompt="1"/>
          </p:nvPr>
        </p:nvSpPr>
        <p:spPr>
          <a:xfrm>
            <a:off x="9813184" y="2210928"/>
            <a:ext cx="1370632" cy="1089529"/>
          </a:xfrm>
          <a:prstGeom prst="rect">
            <a:avLst/>
          </a:prstGeom>
          <a:noFill/>
        </p:spPr>
        <p:txBody>
          <a:bodyPr wrap="square" lIns="0" rIns="0" rtlCol="0" anchor="b">
            <a:spAutoFit/>
          </a:bodyPr>
          <a:lstStyle>
            <a:lvl1pPr algn="r">
              <a:defRPr sz="7200">
                <a:solidFill>
                  <a:srgbClr val="FFFFFF"/>
                </a:solidFill>
              </a:defRPr>
            </a:lvl1pPr>
          </a:lstStyle>
          <a:p>
            <a:pPr marL="0" lvl="0"/>
            <a:r>
              <a:rPr lang="en-US" dirty="0"/>
              <a:t>1</a:t>
            </a:r>
          </a:p>
        </p:txBody>
      </p:sp>
      <p:sp>
        <p:nvSpPr>
          <p:cNvPr id="3" name="Text Placeholder 2"/>
          <p:cNvSpPr>
            <a:spLocks noGrp="1"/>
          </p:cNvSpPr>
          <p:nvPr>
            <p:ph type="body" sz="quarter" idx="10" hasCustomPrompt="1"/>
          </p:nvPr>
        </p:nvSpPr>
        <p:spPr>
          <a:xfrm>
            <a:off x="5421191" y="3816529"/>
            <a:ext cx="5762625" cy="997196"/>
          </a:xfrm>
          <a:noFill/>
        </p:spPr>
        <p:txBody>
          <a:bodyPr wrap="square" lIns="0" rIns="0" rtlCol="0" anchor="b">
            <a:spAutoFit/>
          </a:bodyPr>
          <a:lstStyle>
            <a:lvl1pPr>
              <a:defRPr lang="en-US" sz="7200" b="1" smtClean="0">
                <a:solidFill>
                  <a:srgbClr val="FFFFFF"/>
                </a:solidFill>
                <a:latin typeface="Calibri" charset="0"/>
                <a:ea typeface="+mj-ea"/>
                <a:cs typeface="+mj-cs"/>
              </a:defRPr>
            </a:lvl1pPr>
            <a:lvl2pPr>
              <a:defRPr lang="en-US" smtClean="0"/>
            </a:lvl2pPr>
            <a:lvl3pPr>
              <a:defRPr lang="en-US" smtClean="0"/>
            </a:lvl3pPr>
            <a:lvl4pPr>
              <a:defRPr lang="en-US" smtClean="0"/>
            </a:lvl4pPr>
            <a:lvl5pPr>
              <a:defRPr lang="en-US"/>
            </a:lvl5pPr>
          </a:lstStyle>
          <a:p>
            <a:pPr marL="0" lvl="0" algn="r">
              <a:spcBef>
                <a:spcPct val="0"/>
              </a:spcBef>
              <a:buNone/>
            </a:pPr>
            <a:r>
              <a:rPr lang="en-US" dirty="0"/>
              <a:t>CAPÍTULO</a:t>
            </a:r>
          </a:p>
        </p:txBody>
      </p:sp>
      <p:sp>
        <p:nvSpPr>
          <p:cNvPr id="6" name="Retângulo 2"/>
          <p:cNvSpPr/>
          <p:nvPr/>
        </p:nvSpPr>
        <p:spPr>
          <a:xfrm>
            <a:off x="10263554" y="3300457"/>
            <a:ext cx="920262" cy="257086"/>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7" name="Imagem 5"/>
          <p:cNvPicPr>
            <a:picLocks noChangeAspect="1"/>
          </p:cNvPicPr>
          <p:nvPr/>
        </p:nvPicPr>
        <p:blipFill rotWithShape="1">
          <a:blip r:embed="rId2">
            <a:biLevel thresh="75000"/>
            <a:lum bright="100000"/>
            <a:alphaModFix amt="11000"/>
          </a:blip>
          <a:srcRect l="-41533" t="-16108" r="13290" b="37366"/>
          <a:stretch/>
        </p:blipFill>
        <p:spPr>
          <a:xfrm rot="10800000">
            <a:off x="-1" y="0"/>
            <a:ext cx="6400800" cy="4870174"/>
          </a:xfrm>
          <a:prstGeom prst="rect">
            <a:avLst/>
          </a:prstGeom>
        </p:spPr>
      </p:pic>
    </p:spTree>
    <p:extLst>
      <p:ext uri="{BB962C8B-B14F-4D97-AF65-F5344CB8AC3E}">
        <p14:creationId xmlns:p14="http://schemas.microsoft.com/office/powerpoint/2010/main" val="22443925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nteúdo">
    <p:bg>
      <p:bgPr>
        <a:solidFill>
          <a:schemeClr val="tx2">
            <a:lumMod val="95000"/>
          </a:schemeClr>
        </a:solidFill>
        <a:effectLst/>
      </p:bgPr>
    </p:bg>
    <p:spTree>
      <p:nvGrpSpPr>
        <p:cNvPr id="1" name=""/>
        <p:cNvGrpSpPr/>
        <p:nvPr/>
      </p:nvGrpSpPr>
      <p:grpSpPr>
        <a:xfrm>
          <a:off x="0" y="0"/>
          <a:ext cx="0" cy="0"/>
          <a:chOff x="0" y="0"/>
          <a:chExt cx="0" cy="0"/>
        </a:xfrm>
      </p:grpSpPr>
      <p:sp>
        <p:nvSpPr>
          <p:cNvPr id="6"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7" name="Imagem 9"/>
          <p:cNvPicPr>
            <a:picLocks noChangeAspect="1"/>
          </p:cNvPicPr>
          <p:nvPr/>
        </p:nvPicPr>
        <p:blipFill rotWithShape="1">
          <a:blip r:embed="rId2">
            <a:biLevel thresh="75000"/>
            <a:alphaModFix amt="11000"/>
          </a:blip>
          <a:srcRect l="-19906" t="-16373" r="23392" b="37631"/>
          <a:stretch/>
        </p:blipFill>
        <p:spPr>
          <a:xfrm>
            <a:off x="7374835" y="1987826"/>
            <a:ext cx="4817165" cy="4870174"/>
          </a:xfrm>
          <a:prstGeom prst="rect">
            <a:avLst/>
          </a:prstGeom>
        </p:spPr>
      </p:pic>
      <p:sp>
        <p:nvSpPr>
          <p:cNvPr id="8" name="Title Placeholder 1"/>
          <p:cNvSpPr>
            <a:spLocks noGrp="1"/>
          </p:cNvSpPr>
          <p:nvPr>
            <p:ph type="title" hasCustomPrompt="1"/>
          </p:nvPr>
        </p:nvSpPr>
        <p:spPr>
          <a:xfrm>
            <a:off x="531327" y="378854"/>
            <a:ext cx="11158650" cy="701731"/>
          </a:xfrm>
          <a:prstGeom prst="rect">
            <a:avLst/>
          </a:prstGeom>
          <a:noFill/>
        </p:spPr>
        <p:txBody>
          <a:bodyPr wrap="square" lIns="0" rIns="0" rtlCol="0" anchor="b">
            <a:spAutoFit/>
          </a:bodyPr>
          <a:lstStyle>
            <a:lvl1pPr>
              <a:defRPr/>
            </a:lvl1pPr>
          </a:lstStyle>
          <a:p>
            <a:pPr marL="0" lvl="0"/>
            <a:r>
              <a:rPr lang="en-US" dirty="0"/>
              <a:t>TÍTULO</a:t>
            </a:r>
          </a:p>
        </p:txBody>
      </p:sp>
      <p:sp>
        <p:nvSpPr>
          <p:cNvPr id="9" name="Content Placeholder 2"/>
          <p:cNvSpPr>
            <a:spLocks noGrp="1"/>
          </p:cNvSpPr>
          <p:nvPr>
            <p:ph idx="1" hasCustomPrompt="1"/>
          </p:nvPr>
        </p:nvSpPr>
        <p:spPr>
          <a:xfrm>
            <a:off x="531327" y="1987825"/>
            <a:ext cx="11158650" cy="4189137"/>
          </a:xfrm>
        </p:spPr>
        <p:txBody>
          <a:bodyPr/>
          <a:lstStyle>
            <a:lvl1pPr>
              <a:defRPr>
                <a:solidFill>
                  <a:srgbClr val="13243D"/>
                </a:solidFill>
              </a:defRPr>
            </a:lvl1pPr>
            <a:lvl2pPr>
              <a:defRPr>
                <a:solidFill>
                  <a:srgbClr val="13243D"/>
                </a:solidFill>
              </a:defRPr>
            </a:lvl2pPr>
          </a:lstStyle>
          <a:p>
            <a:pPr lvl="0"/>
            <a:r>
              <a:rPr lang="en-US" dirty="0" err="1"/>
              <a:t>Texto</a:t>
            </a:r>
            <a:endParaRPr lang="en-US" dirty="0"/>
          </a:p>
          <a:p>
            <a:pPr lvl="1"/>
            <a:r>
              <a:rPr lang="en-US" dirty="0" err="1"/>
              <a:t>Texto</a:t>
            </a:r>
            <a:endParaRPr lang="en-US" dirty="0"/>
          </a:p>
        </p:txBody>
      </p:sp>
      <p:pic>
        <p:nvPicPr>
          <p:cNvPr id="10" name="Imagem 9"/>
          <p:cNvPicPr>
            <a:picLocks noChangeAspect="1"/>
          </p:cNvPicPr>
          <p:nvPr/>
        </p:nvPicPr>
        <p:blipFill rotWithShape="1">
          <a:blip r:embed="rId2">
            <a:biLevel thresh="75000"/>
            <a:alphaModFix amt="11000"/>
          </a:blip>
          <a:srcRect l="-19906" t="-16373" r="23392" b="37631"/>
          <a:stretch/>
        </p:blipFill>
        <p:spPr>
          <a:xfrm>
            <a:off x="7374835" y="1987826"/>
            <a:ext cx="4817165" cy="4870174"/>
          </a:xfrm>
          <a:prstGeom prst="rect">
            <a:avLst/>
          </a:prstGeom>
        </p:spPr>
      </p:pic>
      <p:sp>
        <p:nvSpPr>
          <p:cNvPr id="11"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31306292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m_cheia">
    <p:spTree>
      <p:nvGrpSpPr>
        <p:cNvPr id="1" name=""/>
        <p:cNvGrpSpPr/>
        <p:nvPr/>
      </p:nvGrpSpPr>
      <p:grpSpPr>
        <a:xfrm>
          <a:off x="0" y="0"/>
          <a:ext cx="0" cy="0"/>
          <a:chOff x="0" y="0"/>
          <a:chExt cx="0" cy="0"/>
        </a:xfrm>
      </p:grpSpPr>
      <p:pic>
        <p:nvPicPr>
          <p:cNvPr id="10" name="Imagem 1"/>
          <p:cNvPicPr>
            <a:picLocks noChangeAspect="1"/>
          </p:cNvPicPr>
          <p:nvPr/>
        </p:nvPicPr>
        <p:blipFill rotWithShape="1">
          <a:blip r:embed="rId4">
            <a:extLst>
              <a:ext uri="{28A0092B-C50C-407E-A947-70E740481C1C}">
                <a14:useLocalDpi xmlns:a14="http://schemas.microsoft.com/office/drawing/2010/main" val="0"/>
              </a:ext>
            </a:extLst>
          </a:blip>
          <a:srcRect t="9740" b="5844"/>
          <a:stretch/>
        </p:blipFill>
        <p:spPr>
          <a:xfrm>
            <a:off x="9670" y="-1"/>
            <a:ext cx="12182330" cy="6858000"/>
          </a:xfrm>
          <a:prstGeom prst="rect">
            <a:avLst/>
          </a:prstGeom>
        </p:spPr>
      </p:pic>
      <p:sp>
        <p:nvSpPr>
          <p:cNvPr id="11" name="Retângulo 7"/>
          <p:cNvSpPr/>
          <p:nvPr/>
        </p:nvSpPr>
        <p:spPr>
          <a:xfrm rot="10800000">
            <a:off x="9670" y="-1"/>
            <a:ext cx="12192000" cy="6858000"/>
          </a:xfrm>
          <a:prstGeom prst="rect">
            <a:avLst/>
          </a:prstGeom>
          <a:gradFill flip="none" rotWithShape="1">
            <a:gsLst>
              <a:gs pos="0">
                <a:schemeClr val="tx1"/>
              </a:gs>
              <a:gs pos="0">
                <a:srgbClr val="13243D">
                  <a:alpha val="58000"/>
                </a:srgbClr>
              </a:gs>
              <a:gs pos="41000">
                <a:srgbClr val="13243D">
                  <a:alpha val="51000"/>
                </a:srgbClr>
              </a:gs>
              <a:gs pos="98000">
                <a:srgbClr val="13243D">
                  <a:alpha val="68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3" name="Retângulo 9"/>
          <p:cNvSpPr/>
          <p:nvPr/>
        </p:nvSpPr>
        <p:spPr>
          <a:xfrm>
            <a:off x="2585609" y="4524823"/>
            <a:ext cx="1846934" cy="257086"/>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4" name="Title 1"/>
          <p:cNvSpPr>
            <a:spLocks noGrp="1"/>
          </p:cNvSpPr>
          <p:nvPr>
            <p:ph type="ctrTitle" hasCustomPrompt="1"/>
          </p:nvPr>
        </p:nvSpPr>
        <p:spPr>
          <a:xfrm>
            <a:off x="2585609" y="3684593"/>
            <a:ext cx="7275635" cy="840230"/>
          </a:xfrm>
          <a:noFill/>
        </p:spPr>
        <p:txBody>
          <a:bodyPr wrap="square" lIns="0" rIns="0" rtlCol="0" anchor="b">
            <a:spAutoFit/>
          </a:bodyPr>
          <a:lstStyle>
            <a:lvl1pPr>
              <a:defRPr lang="en-US" sz="5400">
                <a:solidFill>
                  <a:srgbClr val="FFFFFF"/>
                </a:solidFill>
                <a:ea typeface="Calibri" charset="0"/>
                <a:cs typeface="Calibri" charset="0"/>
              </a:defRPr>
            </a:lvl1pPr>
          </a:lstStyle>
          <a:p>
            <a:pPr marL="0" lvl="0"/>
            <a:r>
              <a:rPr lang="en-US" dirty="0"/>
              <a:t>TEXTO</a:t>
            </a:r>
          </a:p>
        </p:txBody>
      </p:sp>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7"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Imagem 1"/>
          <p:cNvPicPr>
            <a:picLocks noChangeAspect="1"/>
          </p:cNvPicPr>
          <p:nvPr/>
        </p:nvPicPr>
        <p:blipFill rotWithShape="1">
          <a:blip r:embed="rId4">
            <a:extLst>
              <a:ext uri="{28A0092B-C50C-407E-A947-70E740481C1C}">
                <a14:useLocalDpi xmlns:a14="http://schemas.microsoft.com/office/drawing/2010/main" val="0"/>
              </a:ext>
            </a:extLst>
          </a:blip>
          <a:srcRect t="9740" b="5844"/>
          <a:stretch/>
        </p:blipFill>
        <p:spPr>
          <a:xfrm>
            <a:off x="9670" y="-1"/>
            <a:ext cx="12182330" cy="6858000"/>
          </a:xfrm>
          <a:prstGeom prst="rect">
            <a:avLst/>
          </a:prstGeom>
        </p:spPr>
      </p:pic>
      <p:sp>
        <p:nvSpPr>
          <p:cNvPr id="8" name="Retângulo 7"/>
          <p:cNvSpPr/>
          <p:nvPr/>
        </p:nvSpPr>
        <p:spPr>
          <a:xfrm rot="10800000">
            <a:off x="9670" y="-1"/>
            <a:ext cx="12192000" cy="6858000"/>
          </a:xfrm>
          <a:prstGeom prst="rect">
            <a:avLst/>
          </a:prstGeom>
          <a:gradFill flip="none" rotWithShape="1">
            <a:gsLst>
              <a:gs pos="0">
                <a:schemeClr val="tx1"/>
              </a:gs>
              <a:gs pos="0">
                <a:srgbClr val="13243D">
                  <a:alpha val="58000"/>
                </a:srgbClr>
              </a:gs>
              <a:gs pos="41000">
                <a:srgbClr val="13243D">
                  <a:alpha val="51000"/>
                </a:srgbClr>
              </a:gs>
              <a:gs pos="98000">
                <a:srgbClr val="13243D">
                  <a:alpha val="68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tângulo 9"/>
          <p:cNvSpPr/>
          <p:nvPr/>
        </p:nvSpPr>
        <p:spPr>
          <a:xfrm>
            <a:off x="2585609" y="4524823"/>
            <a:ext cx="1846934" cy="257086"/>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6835755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Frase_Impacto">
    <p:bg>
      <p:bgPr>
        <a:solidFill>
          <a:srgbClr val="14233D"/>
        </a:solidFill>
        <a:effectLst/>
      </p:bgPr>
    </p:bg>
    <p:spTree>
      <p:nvGrpSpPr>
        <p:cNvPr id="1" name=""/>
        <p:cNvGrpSpPr/>
        <p:nvPr/>
      </p:nvGrpSpPr>
      <p:grpSpPr>
        <a:xfrm>
          <a:off x="0" y="0"/>
          <a:ext cx="0" cy="0"/>
          <a:chOff x="0" y="0"/>
          <a:chExt cx="0" cy="0"/>
        </a:xfrm>
      </p:grpSpPr>
      <p:sp>
        <p:nvSpPr>
          <p:cNvPr id="7" name="Retângulo 10"/>
          <p:cNvSpPr/>
          <p:nvPr/>
        </p:nvSpPr>
        <p:spPr>
          <a:xfrm>
            <a:off x="3174545" y="4617978"/>
            <a:ext cx="1846934" cy="257086"/>
          </a:xfrm>
          <a:prstGeom prst="rect">
            <a:avLst/>
          </a:prstGeom>
          <a:solidFill>
            <a:srgbClr val="F92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8" name="Title 1"/>
          <p:cNvSpPr>
            <a:spLocks noGrp="1"/>
          </p:cNvSpPr>
          <p:nvPr>
            <p:ph type="ctrTitle" hasCustomPrompt="1"/>
          </p:nvPr>
        </p:nvSpPr>
        <p:spPr>
          <a:xfrm>
            <a:off x="3174545" y="3777748"/>
            <a:ext cx="6086526" cy="840230"/>
          </a:xfrm>
          <a:noFill/>
        </p:spPr>
        <p:txBody>
          <a:bodyPr wrap="square" lIns="0" rIns="0" rtlCol="0" anchor="b">
            <a:spAutoFit/>
          </a:bodyPr>
          <a:lstStyle>
            <a:lvl1pPr>
              <a:defRPr lang="en-US" sz="5400">
                <a:solidFill>
                  <a:srgbClr val="FFFFFF"/>
                </a:solidFill>
                <a:ea typeface="Calibri" charset="0"/>
                <a:cs typeface="Calibri" charset="0"/>
              </a:defRPr>
            </a:lvl1pPr>
          </a:lstStyle>
          <a:p>
            <a:pPr marL="0" lvl="0"/>
            <a:r>
              <a:rPr lang="en-US" dirty="0"/>
              <a:t>TEXTO</a:t>
            </a:r>
          </a:p>
        </p:txBody>
      </p:sp>
      <p:pic>
        <p:nvPicPr>
          <p:cNvPr id="20" name="Picture 19"/>
          <p:cNvPicPr>
            <a:picLocks noChangeAspect="1"/>
          </p:cNvPicPr>
          <p:nvPr/>
        </p:nvPicPr>
        <p:blipFill rotWithShape="1">
          <a:blip r:embed="rId2">
            <a:biLevel thresh="50000"/>
            <a:alphaModFix amt="11000"/>
          </a:blip>
          <a:srcRect l="39557" t="17621" b="10025"/>
          <a:stretch/>
        </p:blipFill>
        <p:spPr>
          <a:xfrm rot="2607829">
            <a:off x="-711644" y="-1064529"/>
            <a:ext cx="3339956" cy="4962076"/>
          </a:xfrm>
          <a:custGeom>
            <a:avLst/>
            <a:gdLst>
              <a:gd name="connsiteX0" fmla="*/ 0 w 3339956"/>
              <a:gd name="connsiteY0" fmla="*/ 2112157 h 4962076"/>
              <a:gd name="connsiteX1" fmla="*/ 2228566 w 3339956"/>
              <a:gd name="connsiteY1" fmla="*/ 0 h 4962076"/>
              <a:gd name="connsiteX2" fmla="*/ 2438370 w 3339956"/>
              <a:gd name="connsiteY2" fmla="*/ 0 h 4962076"/>
              <a:gd name="connsiteX3" fmla="*/ 3339956 w 3339956"/>
              <a:gd name="connsiteY3" fmla="*/ 951276 h 4962076"/>
              <a:gd name="connsiteX4" fmla="*/ 3339956 w 3339956"/>
              <a:gd name="connsiteY4" fmla="*/ 4356545 h 4962076"/>
              <a:gd name="connsiteX5" fmla="*/ 2701053 w 3339956"/>
              <a:gd name="connsiteY5" fmla="*/ 4962076 h 496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9956" h="4962076">
                <a:moveTo>
                  <a:pt x="0" y="2112157"/>
                </a:moveTo>
                <a:lnTo>
                  <a:pt x="2228566" y="0"/>
                </a:lnTo>
                <a:lnTo>
                  <a:pt x="2438370" y="0"/>
                </a:lnTo>
                <a:lnTo>
                  <a:pt x="3339956" y="951276"/>
                </a:lnTo>
                <a:lnTo>
                  <a:pt x="3339956" y="4356545"/>
                </a:lnTo>
                <a:lnTo>
                  <a:pt x="2701053" y="4962076"/>
                </a:lnTo>
                <a:close/>
              </a:path>
            </a:pathLst>
          </a:custGeom>
        </p:spPr>
      </p:pic>
      <p:pic>
        <p:nvPicPr>
          <p:cNvPr id="21" name="Picture 20"/>
          <p:cNvPicPr>
            <a:picLocks noChangeAspect="1"/>
          </p:cNvPicPr>
          <p:nvPr/>
        </p:nvPicPr>
        <p:blipFill rotWithShape="1">
          <a:blip r:embed="rId2">
            <a:biLevel thresh="50000"/>
            <a:alphaModFix amt="11000"/>
          </a:blip>
          <a:srcRect l="-5013" t="1240" r="36292" b="34421"/>
          <a:stretch/>
        </p:blipFill>
        <p:spPr>
          <a:xfrm rot="508126">
            <a:off x="8662387" y="2712946"/>
            <a:ext cx="3797371" cy="4412340"/>
          </a:xfrm>
          <a:custGeom>
            <a:avLst/>
            <a:gdLst>
              <a:gd name="connsiteX0" fmla="*/ 0 w 3797371"/>
              <a:gd name="connsiteY0" fmla="*/ 479305 h 4412340"/>
              <a:gd name="connsiteX1" fmla="*/ 3219108 w 3797371"/>
              <a:gd name="connsiteY1" fmla="*/ 0 h 4412340"/>
              <a:gd name="connsiteX2" fmla="*/ 3797371 w 3797371"/>
              <a:gd name="connsiteY2" fmla="*/ 3883727 h 4412340"/>
              <a:gd name="connsiteX3" fmla="*/ 247097 w 3797371"/>
              <a:gd name="connsiteY3" fmla="*/ 4412340 h 4412340"/>
              <a:gd name="connsiteX4" fmla="*/ 0 w 3797371"/>
              <a:gd name="connsiteY4" fmla="*/ 2752782 h 4412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71" h="4412340">
                <a:moveTo>
                  <a:pt x="0" y="479305"/>
                </a:moveTo>
                <a:lnTo>
                  <a:pt x="3219108" y="0"/>
                </a:lnTo>
                <a:lnTo>
                  <a:pt x="3797371" y="3883727"/>
                </a:lnTo>
                <a:lnTo>
                  <a:pt x="247097" y="4412340"/>
                </a:lnTo>
                <a:lnTo>
                  <a:pt x="0" y="2752782"/>
                </a:lnTo>
                <a:close/>
              </a:path>
            </a:pathLst>
          </a:custGeom>
        </p:spPr>
      </p:pic>
      <p:sp>
        <p:nvSpPr>
          <p:cNvPr id="6" name="Retângulo 10"/>
          <p:cNvSpPr/>
          <p:nvPr/>
        </p:nvSpPr>
        <p:spPr>
          <a:xfrm>
            <a:off x="3174545" y="4617978"/>
            <a:ext cx="1846934" cy="257086"/>
          </a:xfrm>
          <a:prstGeom prst="rect">
            <a:avLst/>
          </a:prstGeom>
          <a:solidFill>
            <a:srgbClr val="F92B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9" name="Picture 8"/>
          <p:cNvPicPr>
            <a:picLocks noChangeAspect="1"/>
          </p:cNvPicPr>
          <p:nvPr/>
        </p:nvPicPr>
        <p:blipFill rotWithShape="1">
          <a:blip r:embed="rId2">
            <a:biLevel thresh="50000"/>
            <a:alphaModFix amt="11000"/>
          </a:blip>
          <a:srcRect l="39557" t="17621" b="10025"/>
          <a:stretch/>
        </p:blipFill>
        <p:spPr>
          <a:xfrm rot="2607829">
            <a:off x="-711644" y="-1064529"/>
            <a:ext cx="3339956" cy="4962076"/>
          </a:xfrm>
          <a:custGeom>
            <a:avLst/>
            <a:gdLst>
              <a:gd name="connsiteX0" fmla="*/ 0 w 3339956"/>
              <a:gd name="connsiteY0" fmla="*/ 2112157 h 4962076"/>
              <a:gd name="connsiteX1" fmla="*/ 2228566 w 3339956"/>
              <a:gd name="connsiteY1" fmla="*/ 0 h 4962076"/>
              <a:gd name="connsiteX2" fmla="*/ 2438370 w 3339956"/>
              <a:gd name="connsiteY2" fmla="*/ 0 h 4962076"/>
              <a:gd name="connsiteX3" fmla="*/ 3339956 w 3339956"/>
              <a:gd name="connsiteY3" fmla="*/ 951276 h 4962076"/>
              <a:gd name="connsiteX4" fmla="*/ 3339956 w 3339956"/>
              <a:gd name="connsiteY4" fmla="*/ 4356545 h 4962076"/>
              <a:gd name="connsiteX5" fmla="*/ 2701053 w 3339956"/>
              <a:gd name="connsiteY5" fmla="*/ 4962076 h 496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9956" h="4962076">
                <a:moveTo>
                  <a:pt x="0" y="2112157"/>
                </a:moveTo>
                <a:lnTo>
                  <a:pt x="2228566" y="0"/>
                </a:lnTo>
                <a:lnTo>
                  <a:pt x="2438370" y="0"/>
                </a:lnTo>
                <a:lnTo>
                  <a:pt x="3339956" y="951276"/>
                </a:lnTo>
                <a:lnTo>
                  <a:pt x="3339956" y="4356545"/>
                </a:lnTo>
                <a:lnTo>
                  <a:pt x="2701053" y="4962076"/>
                </a:lnTo>
                <a:close/>
              </a:path>
            </a:pathLst>
          </a:custGeom>
        </p:spPr>
      </p:pic>
      <p:pic>
        <p:nvPicPr>
          <p:cNvPr id="10" name="Picture 9"/>
          <p:cNvPicPr>
            <a:picLocks noChangeAspect="1"/>
          </p:cNvPicPr>
          <p:nvPr/>
        </p:nvPicPr>
        <p:blipFill rotWithShape="1">
          <a:blip r:embed="rId2">
            <a:biLevel thresh="50000"/>
            <a:alphaModFix amt="11000"/>
          </a:blip>
          <a:srcRect l="-5013" t="1240" r="36292" b="34421"/>
          <a:stretch/>
        </p:blipFill>
        <p:spPr>
          <a:xfrm rot="508126">
            <a:off x="8662387" y="2712946"/>
            <a:ext cx="3797371" cy="4412340"/>
          </a:xfrm>
          <a:custGeom>
            <a:avLst/>
            <a:gdLst>
              <a:gd name="connsiteX0" fmla="*/ 0 w 3797371"/>
              <a:gd name="connsiteY0" fmla="*/ 479305 h 4412340"/>
              <a:gd name="connsiteX1" fmla="*/ 3219108 w 3797371"/>
              <a:gd name="connsiteY1" fmla="*/ 0 h 4412340"/>
              <a:gd name="connsiteX2" fmla="*/ 3797371 w 3797371"/>
              <a:gd name="connsiteY2" fmla="*/ 3883727 h 4412340"/>
              <a:gd name="connsiteX3" fmla="*/ 247097 w 3797371"/>
              <a:gd name="connsiteY3" fmla="*/ 4412340 h 4412340"/>
              <a:gd name="connsiteX4" fmla="*/ 0 w 3797371"/>
              <a:gd name="connsiteY4" fmla="*/ 2752782 h 4412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71" h="4412340">
                <a:moveTo>
                  <a:pt x="0" y="479305"/>
                </a:moveTo>
                <a:lnTo>
                  <a:pt x="3219108" y="0"/>
                </a:lnTo>
                <a:lnTo>
                  <a:pt x="3797371" y="3883727"/>
                </a:lnTo>
                <a:lnTo>
                  <a:pt x="247097" y="4412340"/>
                </a:lnTo>
                <a:lnTo>
                  <a:pt x="0" y="2752782"/>
                </a:lnTo>
                <a:close/>
              </a:path>
            </a:pathLst>
          </a:custGeom>
        </p:spPr>
      </p:pic>
    </p:spTree>
    <p:extLst>
      <p:ext uri="{BB962C8B-B14F-4D97-AF65-F5344CB8AC3E}">
        <p14:creationId xmlns:p14="http://schemas.microsoft.com/office/powerpoint/2010/main" val="41584024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itação">
    <p:bg>
      <p:bgPr>
        <a:solidFill>
          <a:srgbClr val="14233D"/>
        </a:solidFill>
        <a:effectLst/>
      </p:bgPr>
    </p:bg>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2">
            <a:biLevel thresh="50000"/>
            <a:alphaModFix amt="11000"/>
          </a:blip>
          <a:srcRect l="39557" t="17621" b="10025"/>
          <a:stretch/>
        </p:blipFill>
        <p:spPr>
          <a:xfrm rot="2607829">
            <a:off x="-711644" y="-1064529"/>
            <a:ext cx="3339956" cy="4962076"/>
          </a:xfrm>
          <a:custGeom>
            <a:avLst/>
            <a:gdLst>
              <a:gd name="connsiteX0" fmla="*/ 0 w 3339956"/>
              <a:gd name="connsiteY0" fmla="*/ 2112157 h 4962076"/>
              <a:gd name="connsiteX1" fmla="*/ 2228566 w 3339956"/>
              <a:gd name="connsiteY1" fmla="*/ 0 h 4962076"/>
              <a:gd name="connsiteX2" fmla="*/ 2438370 w 3339956"/>
              <a:gd name="connsiteY2" fmla="*/ 0 h 4962076"/>
              <a:gd name="connsiteX3" fmla="*/ 3339956 w 3339956"/>
              <a:gd name="connsiteY3" fmla="*/ 951276 h 4962076"/>
              <a:gd name="connsiteX4" fmla="*/ 3339956 w 3339956"/>
              <a:gd name="connsiteY4" fmla="*/ 4356545 h 4962076"/>
              <a:gd name="connsiteX5" fmla="*/ 2701053 w 3339956"/>
              <a:gd name="connsiteY5" fmla="*/ 4962076 h 496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9956" h="4962076">
                <a:moveTo>
                  <a:pt x="0" y="2112157"/>
                </a:moveTo>
                <a:lnTo>
                  <a:pt x="2228566" y="0"/>
                </a:lnTo>
                <a:lnTo>
                  <a:pt x="2438370" y="0"/>
                </a:lnTo>
                <a:lnTo>
                  <a:pt x="3339956" y="951276"/>
                </a:lnTo>
                <a:lnTo>
                  <a:pt x="3339956" y="4356545"/>
                </a:lnTo>
                <a:lnTo>
                  <a:pt x="2701053" y="4962076"/>
                </a:lnTo>
                <a:close/>
              </a:path>
            </a:pathLst>
          </a:custGeom>
        </p:spPr>
      </p:pic>
      <p:pic>
        <p:nvPicPr>
          <p:cNvPr id="19" name="Picture 18"/>
          <p:cNvPicPr>
            <a:picLocks noChangeAspect="1"/>
          </p:cNvPicPr>
          <p:nvPr/>
        </p:nvPicPr>
        <p:blipFill rotWithShape="1">
          <a:blip r:embed="rId2">
            <a:biLevel thresh="50000"/>
            <a:alphaModFix amt="11000"/>
          </a:blip>
          <a:srcRect l="-5013" t="1240" r="36292" b="34421"/>
          <a:stretch/>
        </p:blipFill>
        <p:spPr>
          <a:xfrm rot="508126">
            <a:off x="8662387" y="2712946"/>
            <a:ext cx="3797371" cy="4412340"/>
          </a:xfrm>
          <a:custGeom>
            <a:avLst/>
            <a:gdLst>
              <a:gd name="connsiteX0" fmla="*/ 0 w 3797371"/>
              <a:gd name="connsiteY0" fmla="*/ 479305 h 4412340"/>
              <a:gd name="connsiteX1" fmla="*/ 3219108 w 3797371"/>
              <a:gd name="connsiteY1" fmla="*/ 0 h 4412340"/>
              <a:gd name="connsiteX2" fmla="*/ 3797371 w 3797371"/>
              <a:gd name="connsiteY2" fmla="*/ 3883727 h 4412340"/>
              <a:gd name="connsiteX3" fmla="*/ 247097 w 3797371"/>
              <a:gd name="connsiteY3" fmla="*/ 4412340 h 4412340"/>
              <a:gd name="connsiteX4" fmla="*/ 0 w 3797371"/>
              <a:gd name="connsiteY4" fmla="*/ 2752782 h 4412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71" h="4412340">
                <a:moveTo>
                  <a:pt x="0" y="479305"/>
                </a:moveTo>
                <a:lnTo>
                  <a:pt x="3219108" y="0"/>
                </a:lnTo>
                <a:lnTo>
                  <a:pt x="3797371" y="3883727"/>
                </a:lnTo>
                <a:lnTo>
                  <a:pt x="247097" y="4412340"/>
                </a:lnTo>
                <a:lnTo>
                  <a:pt x="0" y="2752782"/>
                </a:lnTo>
                <a:close/>
              </a:path>
            </a:pathLst>
          </a:custGeom>
        </p:spPr>
      </p:pic>
      <p:pic>
        <p:nvPicPr>
          <p:cNvPr id="6" name="Imagem 1"/>
          <p:cNvPicPr>
            <a:picLocks noChangeAspect="1"/>
          </p:cNvPicPr>
          <p:nvPr/>
        </p:nvPicPr>
        <p:blipFill>
          <a:blip r:embed="rId3"/>
          <a:stretch>
            <a:fillRect/>
          </a:stretch>
        </p:blipFill>
        <p:spPr>
          <a:xfrm rot="1110707">
            <a:off x="2926682" y="1569338"/>
            <a:ext cx="592108" cy="541356"/>
          </a:xfrm>
          <a:prstGeom prst="rect">
            <a:avLst/>
          </a:prstGeom>
        </p:spPr>
      </p:pic>
      <p:pic>
        <p:nvPicPr>
          <p:cNvPr id="9" name="Imagem 13"/>
          <p:cNvPicPr>
            <a:picLocks noChangeAspect="1"/>
          </p:cNvPicPr>
          <p:nvPr/>
        </p:nvPicPr>
        <p:blipFill>
          <a:blip r:embed="rId3"/>
          <a:stretch>
            <a:fillRect/>
          </a:stretch>
        </p:blipFill>
        <p:spPr>
          <a:xfrm rot="1110707" flipH="1" flipV="1">
            <a:off x="8437046" y="4144249"/>
            <a:ext cx="454166" cy="565679"/>
          </a:xfrm>
          <a:prstGeom prst="rect">
            <a:avLst/>
          </a:prstGeom>
        </p:spPr>
      </p:pic>
      <p:sp>
        <p:nvSpPr>
          <p:cNvPr id="14" name="Retângulo 16"/>
          <p:cNvSpPr/>
          <p:nvPr/>
        </p:nvSpPr>
        <p:spPr>
          <a:xfrm>
            <a:off x="3848459" y="6113715"/>
            <a:ext cx="634235" cy="9341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5" name="Title 1"/>
          <p:cNvSpPr>
            <a:spLocks noGrp="1"/>
          </p:cNvSpPr>
          <p:nvPr>
            <p:ph type="ctrTitle" hasCustomPrompt="1"/>
          </p:nvPr>
        </p:nvSpPr>
        <p:spPr>
          <a:xfrm>
            <a:off x="3817458" y="2697174"/>
            <a:ext cx="4660991" cy="840230"/>
          </a:xfrm>
          <a:noFill/>
        </p:spPr>
        <p:txBody>
          <a:bodyPr wrap="square" lIns="0" rIns="0" rtlCol="0" anchor="ctr">
            <a:spAutoFit/>
          </a:bodyPr>
          <a:lstStyle>
            <a:lvl1pPr algn="ctr">
              <a:defRPr lang="en-US" sz="5400">
                <a:solidFill>
                  <a:srgbClr val="FFFFFF"/>
                </a:solidFill>
                <a:ea typeface="Calibri" charset="0"/>
                <a:cs typeface="Calibri" charset="0"/>
              </a:defRPr>
            </a:lvl1pPr>
          </a:lstStyle>
          <a:p>
            <a:pPr marL="0" lvl="0"/>
            <a:r>
              <a:rPr lang="en-US" dirty="0"/>
              <a:t>TEXTO</a:t>
            </a:r>
          </a:p>
        </p:txBody>
      </p:sp>
      <p:sp>
        <p:nvSpPr>
          <p:cNvPr id="3" name="Content Placeholder 2"/>
          <p:cNvSpPr>
            <a:spLocks noGrp="1"/>
          </p:cNvSpPr>
          <p:nvPr>
            <p:ph sz="quarter" idx="10" hasCustomPrompt="1"/>
          </p:nvPr>
        </p:nvSpPr>
        <p:spPr>
          <a:xfrm>
            <a:off x="3848459" y="5612647"/>
            <a:ext cx="4598988" cy="366713"/>
          </a:xfrm>
        </p:spPr>
        <p:txBody>
          <a:bodyPr/>
          <a:lstStyle>
            <a:lvl1pPr marL="0" indent="0">
              <a:buNone/>
              <a:defRPr sz="2800" b="1" baseline="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SOBRENOME, Nome</a:t>
            </a:r>
          </a:p>
        </p:txBody>
      </p:sp>
      <p:pic>
        <p:nvPicPr>
          <p:cNvPr id="10" name="Picture 9"/>
          <p:cNvPicPr>
            <a:picLocks noChangeAspect="1"/>
          </p:cNvPicPr>
          <p:nvPr/>
        </p:nvPicPr>
        <p:blipFill rotWithShape="1">
          <a:blip r:embed="rId2">
            <a:biLevel thresh="50000"/>
            <a:alphaModFix amt="11000"/>
          </a:blip>
          <a:srcRect l="39557" t="17621" b="10025"/>
          <a:stretch/>
        </p:blipFill>
        <p:spPr>
          <a:xfrm rot="2607829">
            <a:off x="-711644" y="-1064529"/>
            <a:ext cx="3339956" cy="4962076"/>
          </a:xfrm>
          <a:custGeom>
            <a:avLst/>
            <a:gdLst>
              <a:gd name="connsiteX0" fmla="*/ 0 w 3339956"/>
              <a:gd name="connsiteY0" fmla="*/ 2112157 h 4962076"/>
              <a:gd name="connsiteX1" fmla="*/ 2228566 w 3339956"/>
              <a:gd name="connsiteY1" fmla="*/ 0 h 4962076"/>
              <a:gd name="connsiteX2" fmla="*/ 2438370 w 3339956"/>
              <a:gd name="connsiteY2" fmla="*/ 0 h 4962076"/>
              <a:gd name="connsiteX3" fmla="*/ 3339956 w 3339956"/>
              <a:gd name="connsiteY3" fmla="*/ 951276 h 4962076"/>
              <a:gd name="connsiteX4" fmla="*/ 3339956 w 3339956"/>
              <a:gd name="connsiteY4" fmla="*/ 4356545 h 4962076"/>
              <a:gd name="connsiteX5" fmla="*/ 2701053 w 3339956"/>
              <a:gd name="connsiteY5" fmla="*/ 4962076 h 496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9956" h="4962076">
                <a:moveTo>
                  <a:pt x="0" y="2112157"/>
                </a:moveTo>
                <a:lnTo>
                  <a:pt x="2228566" y="0"/>
                </a:lnTo>
                <a:lnTo>
                  <a:pt x="2438370" y="0"/>
                </a:lnTo>
                <a:lnTo>
                  <a:pt x="3339956" y="951276"/>
                </a:lnTo>
                <a:lnTo>
                  <a:pt x="3339956" y="4356545"/>
                </a:lnTo>
                <a:lnTo>
                  <a:pt x="2701053" y="4962076"/>
                </a:lnTo>
                <a:close/>
              </a:path>
            </a:pathLst>
          </a:custGeom>
        </p:spPr>
      </p:pic>
      <p:pic>
        <p:nvPicPr>
          <p:cNvPr id="11" name="Picture 10"/>
          <p:cNvPicPr>
            <a:picLocks noChangeAspect="1"/>
          </p:cNvPicPr>
          <p:nvPr/>
        </p:nvPicPr>
        <p:blipFill rotWithShape="1">
          <a:blip r:embed="rId2">
            <a:biLevel thresh="50000"/>
            <a:alphaModFix amt="11000"/>
          </a:blip>
          <a:srcRect l="-5013" t="1240" r="36292" b="34421"/>
          <a:stretch/>
        </p:blipFill>
        <p:spPr>
          <a:xfrm rot="508126">
            <a:off x="8662387" y="2712946"/>
            <a:ext cx="3797371" cy="4412340"/>
          </a:xfrm>
          <a:custGeom>
            <a:avLst/>
            <a:gdLst>
              <a:gd name="connsiteX0" fmla="*/ 0 w 3797371"/>
              <a:gd name="connsiteY0" fmla="*/ 479305 h 4412340"/>
              <a:gd name="connsiteX1" fmla="*/ 3219108 w 3797371"/>
              <a:gd name="connsiteY1" fmla="*/ 0 h 4412340"/>
              <a:gd name="connsiteX2" fmla="*/ 3797371 w 3797371"/>
              <a:gd name="connsiteY2" fmla="*/ 3883727 h 4412340"/>
              <a:gd name="connsiteX3" fmla="*/ 247097 w 3797371"/>
              <a:gd name="connsiteY3" fmla="*/ 4412340 h 4412340"/>
              <a:gd name="connsiteX4" fmla="*/ 0 w 3797371"/>
              <a:gd name="connsiteY4" fmla="*/ 2752782 h 4412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7371" h="4412340">
                <a:moveTo>
                  <a:pt x="0" y="479305"/>
                </a:moveTo>
                <a:lnTo>
                  <a:pt x="3219108" y="0"/>
                </a:lnTo>
                <a:lnTo>
                  <a:pt x="3797371" y="3883727"/>
                </a:lnTo>
                <a:lnTo>
                  <a:pt x="247097" y="4412340"/>
                </a:lnTo>
                <a:lnTo>
                  <a:pt x="0" y="2752782"/>
                </a:lnTo>
                <a:close/>
              </a:path>
            </a:pathLst>
          </a:custGeom>
        </p:spPr>
      </p:pic>
      <p:pic>
        <p:nvPicPr>
          <p:cNvPr id="12" name="Imagem 1"/>
          <p:cNvPicPr>
            <a:picLocks noChangeAspect="1"/>
          </p:cNvPicPr>
          <p:nvPr/>
        </p:nvPicPr>
        <p:blipFill>
          <a:blip r:embed="rId3"/>
          <a:stretch>
            <a:fillRect/>
          </a:stretch>
        </p:blipFill>
        <p:spPr>
          <a:xfrm rot="1110707">
            <a:off x="2926682" y="1569338"/>
            <a:ext cx="592108" cy="541356"/>
          </a:xfrm>
          <a:prstGeom prst="rect">
            <a:avLst/>
          </a:prstGeom>
        </p:spPr>
      </p:pic>
      <p:pic>
        <p:nvPicPr>
          <p:cNvPr id="13" name="Imagem 13"/>
          <p:cNvPicPr>
            <a:picLocks noChangeAspect="1"/>
          </p:cNvPicPr>
          <p:nvPr/>
        </p:nvPicPr>
        <p:blipFill>
          <a:blip r:embed="rId3"/>
          <a:stretch>
            <a:fillRect/>
          </a:stretch>
        </p:blipFill>
        <p:spPr>
          <a:xfrm rot="1110707" flipH="1" flipV="1">
            <a:off x="8437046" y="4144249"/>
            <a:ext cx="454166" cy="565679"/>
          </a:xfrm>
          <a:prstGeom prst="rect">
            <a:avLst/>
          </a:prstGeom>
        </p:spPr>
      </p:pic>
      <p:sp>
        <p:nvSpPr>
          <p:cNvPr id="16" name="Retângulo 16"/>
          <p:cNvSpPr/>
          <p:nvPr/>
        </p:nvSpPr>
        <p:spPr>
          <a:xfrm>
            <a:off x="3848459" y="6113715"/>
            <a:ext cx="634235" cy="9341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6321310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eia_Imagem">
    <p:bg>
      <p:bgPr>
        <a:solidFill>
          <a:schemeClr val="tx2">
            <a:lumMod val="95000"/>
          </a:schemeClr>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0"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Imagem 1"/>
          <p:cNvPicPr>
            <a:picLocks noChangeAspect="1"/>
          </p:cNvPicPr>
          <p:nvPr/>
        </p:nvPicPr>
        <p:blipFill rotWithShape="1">
          <a:blip r:embed="rId7">
            <a:extLst>
              <a:ext uri="{28A0092B-C50C-407E-A947-70E740481C1C}">
                <a14:useLocalDpi xmlns:a14="http://schemas.microsoft.com/office/drawing/2010/main" val="0"/>
              </a:ext>
            </a:extLst>
          </a:blip>
          <a:srcRect l="23224" r="17783"/>
          <a:stretch/>
        </p:blipFill>
        <p:spPr>
          <a:xfrm>
            <a:off x="6095999" y="0"/>
            <a:ext cx="6066693" cy="6858000"/>
          </a:xfrm>
          <a:prstGeom prst="rect">
            <a:avLst/>
          </a:prstGeom>
        </p:spPr>
      </p:pic>
      <p:sp>
        <p:nvSpPr>
          <p:cNvPr id="8" name="Retângulo 5"/>
          <p:cNvSpPr/>
          <p:nvPr/>
        </p:nvSpPr>
        <p:spPr>
          <a:xfrm rot="10800000">
            <a:off x="6095998" y="0"/>
            <a:ext cx="6096001" cy="6858000"/>
          </a:xfrm>
          <a:prstGeom prst="rect">
            <a:avLst/>
          </a:prstGeom>
          <a:gradFill flip="none" rotWithShape="1">
            <a:gsLst>
              <a:gs pos="0">
                <a:schemeClr val="tx1"/>
              </a:gs>
              <a:gs pos="0">
                <a:srgbClr val="13243D">
                  <a:alpha val="39000"/>
                </a:srgbClr>
              </a:gs>
              <a:gs pos="41000">
                <a:srgbClr val="13243D">
                  <a:alpha val="40000"/>
                </a:srgbClr>
              </a:gs>
              <a:gs pos="98000">
                <a:srgbClr val="13243D">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Title Placeholder 1"/>
          <p:cNvSpPr>
            <a:spLocks noGrp="1"/>
          </p:cNvSpPr>
          <p:nvPr>
            <p:ph type="title" hasCustomPrompt="1"/>
          </p:nvPr>
        </p:nvSpPr>
        <p:spPr>
          <a:xfrm>
            <a:off x="531327" y="378854"/>
            <a:ext cx="5535364" cy="701731"/>
          </a:xfrm>
          <a:prstGeom prst="rect">
            <a:avLst/>
          </a:prstGeom>
          <a:noFill/>
        </p:spPr>
        <p:txBody>
          <a:bodyPr wrap="square" lIns="0" rIns="0" rtlCol="0" anchor="b">
            <a:spAutoFit/>
          </a:bodyPr>
          <a:lstStyle>
            <a:lvl1pPr>
              <a:defRPr/>
            </a:lvl1pPr>
          </a:lstStyle>
          <a:p>
            <a:pPr marL="0" lvl="0"/>
            <a:r>
              <a:rPr lang="en-US" dirty="0"/>
              <a:t>TÍTULO</a:t>
            </a:r>
          </a:p>
        </p:txBody>
      </p:sp>
      <p:sp>
        <p:nvSpPr>
          <p:cNvPr id="13" name="Content Placeholder 2"/>
          <p:cNvSpPr>
            <a:spLocks noGrp="1"/>
          </p:cNvSpPr>
          <p:nvPr>
            <p:ph idx="1" hasCustomPrompt="1"/>
          </p:nvPr>
        </p:nvSpPr>
        <p:spPr>
          <a:xfrm>
            <a:off x="531327" y="1987825"/>
            <a:ext cx="5535364" cy="4197822"/>
          </a:xfrm>
        </p:spPr>
        <p:txBody>
          <a:bodyPr/>
          <a:lstStyle>
            <a:lvl1pPr>
              <a:defRPr>
                <a:solidFill>
                  <a:srgbClr val="13243D"/>
                </a:solidFill>
              </a:defRPr>
            </a:lvl1pPr>
            <a:lvl2pPr>
              <a:defRPr>
                <a:solidFill>
                  <a:srgbClr val="13243D"/>
                </a:solidFill>
              </a:defRPr>
            </a:lvl2pPr>
          </a:lstStyle>
          <a:p>
            <a:pPr lvl="0"/>
            <a:r>
              <a:rPr lang="en-US" dirty="0" err="1"/>
              <a:t>Texto</a:t>
            </a:r>
            <a:endParaRPr lang="en-US" dirty="0"/>
          </a:p>
          <a:p>
            <a:pPr lvl="1"/>
            <a:r>
              <a:rPr lang="en-US" dirty="0" err="1"/>
              <a:t>Texto</a:t>
            </a:r>
            <a:endParaRPr lang="en-US" dirty="0"/>
          </a:p>
        </p:txBody>
      </p:sp>
      <p:sp>
        <p:nvSpPr>
          <p:cNvPr id="11"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graphicFrame>
        <p:nvGraphicFramePr>
          <p:cNvPr id="14" name="Object 13"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1" name="think-cell Slide" r:id="rId8" imgW="270" imgH="270" progId="TCLayout.ActiveDocument.1">
                  <p:embed/>
                </p:oleObj>
              </mc:Choice>
              <mc:Fallback>
                <p:oleObj name="think-cell Slide" r:id="rId8"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Imagem 1"/>
          <p:cNvPicPr>
            <a:picLocks noChangeAspect="1"/>
          </p:cNvPicPr>
          <p:nvPr/>
        </p:nvPicPr>
        <p:blipFill rotWithShape="1">
          <a:blip r:embed="rId7">
            <a:extLst>
              <a:ext uri="{28A0092B-C50C-407E-A947-70E740481C1C}">
                <a14:useLocalDpi xmlns:a14="http://schemas.microsoft.com/office/drawing/2010/main" val="0"/>
              </a:ext>
            </a:extLst>
          </a:blip>
          <a:srcRect l="23224" r="17783"/>
          <a:stretch/>
        </p:blipFill>
        <p:spPr>
          <a:xfrm>
            <a:off x="6095999" y="0"/>
            <a:ext cx="6066693" cy="6858000"/>
          </a:xfrm>
          <a:prstGeom prst="rect">
            <a:avLst/>
          </a:prstGeom>
        </p:spPr>
      </p:pic>
      <p:sp>
        <p:nvSpPr>
          <p:cNvPr id="16" name="Retângulo 5"/>
          <p:cNvSpPr/>
          <p:nvPr/>
        </p:nvSpPr>
        <p:spPr>
          <a:xfrm rot="10800000">
            <a:off x="6095998" y="0"/>
            <a:ext cx="6096001" cy="6858000"/>
          </a:xfrm>
          <a:prstGeom prst="rect">
            <a:avLst/>
          </a:prstGeom>
          <a:gradFill flip="none" rotWithShape="1">
            <a:gsLst>
              <a:gs pos="0">
                <a:schemeClr val="tx1"/>
              </a:gs>
              <a:gs pos="0">
                <a:srgbClr val="13243D">
                  <a:alpha val="39000"/>
                </a:srgbClr>
              </a:gs>
              <a:gs pos="41000">
                <a:srgbClr val="13243D">
                  <a:alpha val="40000"/>
                </a:srgbClr>
              </a:gs>
              <a:gs pos="98000">
                <a:srgbClr val="13243D">
                  <a:alpha val="5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42903885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Número">
    <p:bg>
      <p:bgPr>
        <a:solidFill>
          <a:schemeClr val="tx2">
            <a:lumMod val="95000"/>
          </a:schemeClr>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4"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8"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9" name="Title Placeholder 1"/>
          <p:cNvSpPr>
            <a:spLocks noGrp="1"/>
          </p:cNvSpPr>
          <p:nvPr>
            <p:ph type="title" hasCustomPrompt="1"/>
          </p:nvPr>
        </p:nvSpPr>
        <p:spPr>
          <a:xfrm>
            <a:off x="531327" y="378854"/>
            <a:ext cx="11158650" cy="701731"/>
          </a:xfrm>
          <a:prstGeom prst="rect">
            <a:avLst/>
          </a:prstGeom>
          <a:noFill/>
        </p:spPr>
        <p:txBody>
          <a:bodyPr wrap="square" lIns="0" rIns="0" rtlCol="0" anchor="b">
            <a:spAutoFit/>
          </a:bodyPr>
          <a:lstStyle>
            <a:lvl1pPr>
              <a:defRPr/>
            </a:lvl1pPr>
          </a:lstStyle>
          <a:p>
            <a:pPr marL="0" lvl="0"/>
            <a:r>
              <a:rPr lang="en-US" dirty="0"/>
              <a:t>TÍTULO</a:t>
            </a:r>
          </a:p>
        </p:txBody>
      </p:sp>
      <p:sp>
        <p:nvSpPr>
          <p:cNvPr id="7" name="Content Placeholder 2"/>
          <p:cNvSpPr>
            <a:spLocks noGrp="1"/>
          </p:cNvSpPr>
          <p:nvPr>
            <p:ph idx="1" hasCustomPrompt="1"/>
          </p:nvPr>
        </p:nvSpPr>
        <p:spPr>
          <a:xfrm>
            <a:off x="3162311" y="2924853"/>
            <a:ext cx="5867378" cy="1323439"/>
          </a:xfrm>
        </p:spPr>
        <p:txBody>
          <a:bodyPr anchor="ctr"/>
          <a:lstStyle>
            <a:lvl1pPr marL="0" indent="0" algn="ctr">
              <a:buNone/>
              <a:defRPr sz="8000" b="1" baseline="0">
                <a:solidFill>
                  <a:srgbClr val="13243D"/>
                </a:solidFill>
              </a:defRPr>
            </a:lvl1pPr>
            <a:lvl2pPr algn="ctr">
              <a:defRPr/>
            </a:lvl2pPr>
          </a:lstStyle>
          <a:p>
            <a:pPr lvl="0"/>
            <a:r>
              <a:rPr lang="en-US" dirty="0"/>
              <a:t>R$ 30.000,00</a:t>
            </a:r>
          </a:p>
        </p:txBody>
      </p:sp>
      <p:sp>
        <p:nvSpPr>
          <p:cNvPr id="8" name="Content Placeholder 2"/>
          <p:cNvSpPr>
            <a:spLocks noGrp="1"/>
          </p:cNvSpPr>
          <p:nvPr>
            <p:ph idx="10" hasCustomPrompt="1"/>
          </p:nvPr>
        </p:nvSpPr>
        <p:spPr>
          <a:xfrm>
            <a:off x="3162311" y="4314721"/>
            <a:ext cx="5867378" cy="461665"/>
          </a:xfrm>
        </p:spPr>
        <p:txBody>
          <a:bodyPr anchor="ctr"/>
          <a:lstStyle>
            <a:lvl1pPr marL="0" indent="0" algn="l">
              <a:buNone/>
              <a:defRPr sz="2400" b="0" baseline="0">
                <a:solidFill>
                  <a:srgbClr val="13243D"/>
                </a:solidFill>
              </a:defRPr>
            </a:lvl1pPr>
            <a:lvl2pPr algn="ctr">
              <a:defRPr/>
            </a:lvl2pPr>
          </a:lstStyle>
          <a:p>
            <a:pPr lvl="0"/>
            <a:r>
              <a:rPr lang="en-US" dirty="0" err="1"/>
              <a:t>Texto</a:t>
            </a:r>
            <a:r>
              <a:rPr lang="en-US" dirty="0"/>
              <a:t> </a:t>
            </a:r>
            <a:r>
              <a:rPr lang="en-US" dirty="0" err="1"/>
              <a:t>explicativo</a:t>
            </a:r>
            <a:endParaRPr lang="en-US" dirty="0"/>
          </a:p>
        </p:txBody>
      </p:sp>
      <p:graphicFrame>
        <p:nvGraphicFramePr>
          <p:cNvPr id="9" name="Object 8"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5" name="think-cell Slide" r:id="rId7" imgW="270" imgH="270" progId="TCLayout.ActiveDocument.1">
                  <p:embed/>
                </p:oleObj>
              </mc:Choice>
              <mc:Fallback>
                <p:oleObj name="think-cell Slide" r:id="rId7"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15363230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echamento">
    <p:bg>
      <p:bgPr>
        <a:solidFill>
          <a:srgbClr val="85C440"/>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8"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Imagem 1"/>
          <p:cNvPicPr>
            <a:picLocks noChangeAspect="1"/>
          </p:cNvPicPr>
          <p:nvPr/>
        </p:nvPicPr>
        <p:blipFill>
          <a:blip r:embed="rId7"/>
          <a:stretch>
            <a:fillRect/>
          </a:stretch>
        </p:blipFill>
        <p:spPr>
          <a:xfrm>
            <a:off x="2726379" y="1896035"/>
            <a:ext cx="6739242" cy="2904564"/>
          </a:xfrm>
          <a:prstGeom prst="rect">
            <a:avLst/>
          </a:prstGeom>
        </p:spPr>
      </p:pic>
      <p:sp>
        <p:nvSpPr>
          <p:cNvPr id="13" name="CaixaDeTexto 40"/>
          <p:cNvSpPr txBox="1"/>
          <p:nvPr/>
        </p:nvSpPr>
        <p:spPr>
          <a:xfrm>
            <a:off x="4497662" y="5805397"/>
            <a:ext cx="3196676" cy="646331"/>
          </a:xfrm>
          <a:prstGeom prst="rect">
            <a:avLst/>
          </a:prstGeom>
          <a:noFill/>
        </p:spPr>
        <p:txBody>
          <a:bodyPr wrap="square" rtlCol="0" anchor="t">
            <a:spAutoFit/>
          </a:bodyPr>
          <a:lstStyle/>
          <a:p>
            <a:pPr marL="15875" algn="ctr"/>
            <a:r>
              <a:rPr lang="en-US" dirty="0">
                <a:latin typeface="Calibri Light" charset="0"/>
                <a:ea typeface="Calibri Light" charset="0"/>
                <a:cs typeface="Calibri Light" charset="0"/>
              </a:rPr>
              <a:t>contato@cieb.net.br</a:t>
            </a:r>
          </a:p>
          <a:p>
            <a:pPr marL="15875" algn="ctr"/>
            <a:r>
              <a:rPr lang="en-US" dirty="0">
                <a:latin typeface="Calibri Light" charset="0"/>
                <a:ea typeface="Calibri Light" charset="0"/>
                <a:cs typeface="Calibri Light" charset="0"/>
              </a:rPr>
              <a:t>11 3066.7271</a:t>
            </a:r>
            <a:endParaRPr lang="pt-BR" dirty="0">
              <a:latin typeface="Calibri Light" charset="0"/>
              <a:ea typeface="Calibri Light" charset="0"/>
              <a:cs typeface="Calibri Light" charset="0"/>
            </a:endParaRPr>
          </a:p>
        </p:txBody>
      </p:sp>
      <p:pic>
        <p:nvPicPr>
          <p:cNvPr id="14" name="Imagem 6"/>
          <p:cNvPicPr>
            <a:picLocks noChangeAspect="1"/>
          </p:cNvPicPr>
          <p:nvPr/>
        </p:nvPicPr>
        <p:blipFill rotWithShape="1">
          <a:blip r:embed="rId8">
            <a:biLevel thresh="75000"/>
            <a:alphaModFix amt="19000"/>
          </a:blip>
          <a:srcRect l="-28246" t="-18183" r="31732" b="39441"/>
          <a:stretch/>
        </p:blipFill>
        <p:spPr>
          <a:xfrm rot="16200000">
            <a:off x="7348331" y="-26504"/>
            <a:ext cx="4817165" cy="4870174"/>
          </a:xfrm>
          <a:prstGeom prst="rect">
            <a:avLst/>
          </a:prstGeom>
        </p:spPr>
      </p:pic>
      <p:graphicFrame>
        <p:nvGraphicFramePr>
          <p:cNvPr id="6" name="Object 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9" name="think-cell Slide" r:id="rId9" imgW="270" imgH="270" progId="TCLayout.ActiveDocument.1">
                  <p:embed/>
                </p:oleObj>
              </mc:Choice>
              <mc:Fallback>
                <p:oleObj name="think-cell Slide" r:id="rId9"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Imagem 1"/>
          <p:cNvPicPr>
            <a:picLocks noChangeAspect="1"/>
          </p:cNvPicPr>
          <p:nvPr/>
        </p:nvPicPr>
        <p:blipFill>
          <a:blip r:embed="rId7"/>
          <a:stretch>
            <a:fillRect/>
          </a:stretch>
        </p:blipFill>
        <p:spPr>
          <a:xfrm>
            <a:off x="2726379" y="1896035"/>
            <a:ext cx="6739242" cy="2904564"/>
          </a:xfrm>
          <a:prstGeom prst="rect">
            <a:avLst/>
          </a:prstGeom>
        </p:spPr>
      </p:pic>
      <p:sp>
        <p:nvSpPr>
          <p:cNvPr id="8" name="CaixaDeTexto 40"/>
          <p:cNvSpPr txBox="1"/>
          <p:nvPr/>
        </p:nvSpPr>
        <p:spPr>
          <a:xfrm>
            <a:off x="4497662" y="5805397"/>
            <a:ext cx="3196676" cy="646331"/>
          </a:xfrm>
          <a:prstGeom prst="rect">
            <a:avLst/>
          </a:prstGeom>
          <a:noFill/>
        </p:spPr>
        <p:txBody>
          <a:bodyPr wrap="square" rtlCol="0" anchor="t">
            <a:spAutoFit/>
          </a:bodyPr>
          <a:lstStyle/>
          <a:p>
            <a:pPr marL="15875" algn="ctr"/>
            <a:r>
              <a:rPr lang="en-US" dirty="0">
                <a:latin typeface="Calibri Light" charset="0"/>
                <a:ea typeface="Calibri Light" charset="0"/>
                <a:cs typeface="Calibri Light" charset="0"/>
              </a:rPr>
              <a:t>contato@cieb.net.br</a:t>
            </a:r>
          </a:p>
          <a:p>
            <a:pPr marL="15875" algn="ctr"/>
            <a:r>
              <a:rPr lang="en-US" dirty="0">
                <a:latin typeface="Calibri Light" charset="0"/>
                <a:ea typeface="Calibri Light" charset="0"/>
                <a:cs typeface="Calibri Light" charset="0"/>
              </a:rPr>
              <a:t>11 3066.7271</a:t>
            </a:r>
            <a:endParaRPr lang="pt-BR" dirty="0">
              <a:latin typeface="Calibri Light" charset="0"/>
              <a:ea typeface="Calibri Light" charset="0"/>
              <a:cs typeface="Calibri Light" charset="0"/>
            </a:endParaRPr>
          </a:p>
        </p:txBody>
      </p:sp>
      <p:pic>
        <p:nvPicPr>
          <p:cNvPr id="9" name="Imagem 6"/>
          <p:cNvPicPr>
            <a:picLocks noChangeAspect="1"/>
          </p:cNvPicPr>
          <p:nvPr/>
        </p:nvPicPr>
        <p:blipFill rotWithShape="1">
          <a:blip r:embed="rId8">
            <a:biLevel thresh="75000"/>
            <a:alphaModFix amt="19000"/>
          </a:blip>
          <a:srcRect l="-28246" t="-18183" r="31732" b="39441"/>
          <a:stretch/>
        </p:blipFill>
        <p:spPr>
          <a:xfrm rot="16200000">
            <a:off x="7348331" y="-26504"/>
            <a:ext cx="4817165" cy="4870174"/>
          </a:xfrm>
          <a:prstGeom prst="rect">
            <a:avLst/>
          </a:prstGeom>
        </p:spPr>
      </p:pic>
    </p:spTree>
    <p:extLst>
      <p:ext uri="{BB962C8B-B14F-4D97-AF65-F5344CB8AC3E}">
        <p14:creationId xmlns:p14="http://schemas.microsoft.com/office/powerpoint/2010/main" val="541679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C94230C-BFCD-4757-92FF-81E57C0C0531}"/>
              </a:ext>
            </a:extLst>
          </p:cNvPr>
          <p:cNvSpPr>
            <a:spLocks noGrp="1"/>
          </p:cNvSpPr>
          <p:nvPr>
            <p:ph type="title"/>
          </p:nvPr>
        </p:nvSpPr>
        <p:spPr>
          <a:xfrm>
            <a:off x="839788" y="365125"/>
            <a:ext cx="105156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9A2C8C0D-F142-4B8E-B61A-885A9A16C2F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4" name="Espaço Reservado para Conteúdo 3">
            <a:extLst>
              <a:ext uri="{FF2B5EF4-FFF2-40B4-BE49-F238E27FC236}">
                <a16:creationId xmlns:a16="http://schemas.microsoft.com/office/drawing/2014/main" id="{B3A8E789-8987-4264-99BB-1969B67D2004}"/>
              </a:ext>
            </a:extLst>
          </p:cNvPr>
          <p:cNvSpPr>
            <a:spLocks noGrp="1"/>
          </p:cNvSpPr>
          <p:nvPr>
            <p:ph sz="half" idx="2"/>
          </p:nvPr>
        </p:nvSpPr>
        <p:spPr>
          <a:xfrm>
            <a:off x="839788" y="2505075"/>
            <a:ext cx="5157787"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88C36371-7AC5-4E8C-AA71-6FB20EB443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6" name="Espaço Reservado para Conteúdo 5">
            <a:extLst>
              <a:ext uri="{FF2B5EF4-FFF2-40B4-BE49-F238E27FC236}">
                <a16:creationId xmlns:a16="http://schemas.microsoft.com/office/drawing/2014/main" id="{B959AFD6-2341-4896-A48C-50C9C792726A}"/>
              </a:ext>
            </a:extLst>
          </p:cNvPr>
          <p:cNvSpPr>
            <a:spLocks noGrp="1"/>
          </p:cNvSpPr>
          <p:nvPr>
            <p:ph sz="quarter" idx="4"/>
          </p:nvPr>
        </p:nvSpPr>
        <p:spPr>
          <a:xfrm>
            <a:off x="6172200" y="2505075"/>
            <a:ext cx="5183188"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4899A471-4CB9-4436-8D46-053BAC005C08}"/>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8" name="Espaço Reservado para Rodapé 7">
            <a:extLst>
              <a:ext uri="{FF2B5EF4-FFF2-40B4-BE49-F238E27FC236}">
                <a16:creationId xmlns:a16="http://schemas.microsoft.com/office/drawing/2014/main" id="{383D7F1C-0066-49EC-9812-1743DC8535AB}"/>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57F0A7DB-4E31-4536-A2DF-3415509C9CB3}"/>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1937660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Em branco">
    <p:bg>
      <p:bgPr>
        <a:solidFill>
          <a:schemeClr val="tx2">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015" y="1589"/>
          <a:ext cx="2015" cy="1587"/>
        </p:xfrm>
        <a:graphic>
          <a:graphicData uri="http://schemas.openxmlformats.org/presentationml/2006/ole">
            <mc:AlternateContent xmlns:mc="http://schemas.openxmlformats.org/markup-compatibility/2006">
              <mc:Choice xmlns:v="urn:schemas-microsoft-com:vml" Requires="v">
                <p:oleObj spid="_x0000_s13323" name="think-cell Slide" r:id="rId4" imgW="270" imgH="270" progId="TCLayout.ActiveDocument.1">
                  <p:embed/>
                </p:oleObj>
              </mc:Choice>
              <mc:Fallback>
                <p:oleObj name="think-cell Slide" r:id="rId4" imgW="270" imgH="27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15" y="1589"/>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038190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8937C0-B9F3-4722-A7F8-EFD596079FBD}"/>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51C42BF7-5912-42E5-A557-23AF135E8231}"/>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4" name="Espaço Reservado para Rodapé 3">
            <a:extLst>
              <a:ext uri="{FF2B5EF4-FFF2-40B4-BE49-F238E27FC236}">
                <a16:creationId xmlns:a16="http://schemas.microsoft.com/office/drawing/2014/main" id="{A9983196-1452-40F8-97ED-4807743A6B0B}"/>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2AA7C4FF-55B2-4AF1-BD21-601A9B36C7CF}"/>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3389450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0C6F67DD-918F-404E-AE8F-300DBCCD4285}"/>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3" name="Espaço Reservado para Rodapé 2">
            <a:extLst>
              <a:ext uri="{FF2B5EF4-FFF2-40B4-BE49-F238E27FC236}">
                <a16:creationId xmlns:a16="http://schemas.microsoft.com/office/drawing/2014/main" id="{795D8AE0-9BE2-43B4-84EF-6781BA5CA4FA}"/>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706E11F2-0C04-4F61-BFE5-ADC9325AD6C5}"/>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40778190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96E0202-5EC9-48C4-8E18-835E32E47DE3}"/>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E9A4BE5A-0C7E-42EF-AA26-DD7710C819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FB90BBE8-1F8B-4B47-AB88-FA844CE889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Espaço Reservado para Data 4">
            <a:extLst>
              <a:ext uri="{FF2B5EF4-FFF2-40B4-BE49-F238E27FC236}">
                <a16:creationId xmlns:a16="http://schemas.microsoft.com/office/drawing/2014/main" id="{4C7DD293-E56B-4BB5-9E2B-0A128B3FF4A0}"/>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6" name="Espaço Reservado para Rodapé 5">
            <a:extLst>
              <a:ext uri="{FF2B5EF4-FFF2-40B4-BE49-F238E27FC236}">
                <a16:creationId xmlns:a16="http://schemas.microsoft.com/office/drawing/2014/main" id="{3DDCCCC4-7DEE-49D6-8578-A75AF39DCDB8}"/>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BC412F1B-1FAF-4759-9917-DC533062C95E}"/>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34270489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A114B2F-5C64-4AB6-AB8D-93E4D6819837}"/>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EC47542C-7576-4174-B5DF-5D615C5DE6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56636E67-7D63-4124-9105-A52041A8AB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Espaço Reservado para Data 4">
            <a:extLst>
              <a:ext uri="{FF2B5EF4-FFF2-40B4-BE49-F238E27FC236}">
                <a16:creationId xmlns:a16="http://schemas.microsoft.com/office/drawing/2014/main" id="{B48203E3-9CBF-4A57-B292-3F9962821546}"/>
              </a:ext>
            </a:extLst>
          </p:cNvPr>
          <p:cNvSpPr>
            <a:spLocks noGrp="1"/>
          </p:cNvSpPr>
          <p:nvPr>
            <p:ph type="dt" sz="half" idx="10"/>
          </p:nvPr>
        </p:nvSpPr>
        <p:spPr/>
        <p:txBody>
          <a:bodyPr/>
          <a:lstStyle/>
          <a:p>
            <a:fld id="{07001C09-37A7-417A-8C0B-E974C1596AA4}" type="datetimeFigureOut">
              <a:rPr lang="pt-BR" smtClean="0"/>
              <a:t>06/06/2018</a:t>
            </a:fld>
            <a:endParaRPr lang="pt-BR"/>
          </a:p>
        </p:txBody>
      </p:sp>
      <p:sp>
        <p:nvSpPr>
          <p:cNvPr id="6" name="Espaço Reservado para Rodapé 5">
            <a:extLst>
              <a:ext uri="{FF2B5EF4-FFF2-40B4-BE49-F238E27FC236}">
                <a16:creationId xmlns:a16="http://schemas.microsoft.com/office/drawing/2014/main" id="{1F8CFA6A-88D8-49E1-BC51-B4F7A241C39F}"/>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03CA21CE-EDF7-48C1-8937-B97E049D6477}"/>
              </a:ext>
            </a:extLst>
          </p:cNvPr>
          <p:cNvSpPr>
            <a:spLocks noGrp="1"/>
          </p:cNvSpPr>
          <p:nvPr>
            <p:ph type="sldNum" sz="quarter" idx="12"/>
          </p:nvPr>
        </p:nvSpPr>
        <p:spPr/>
        <p:txBody>
          <a:bodyPr/>
          <a:lstStyle/>
          <a:p>
            <a:fld id="{967AB0F1-16CB-484C-824C-D9E933A60A22}" type="slidenum">
              <a:rPr lang="pt-BR" smtClean="0"/>
              <a:t>‹nº›</a:t>
            </a:fld>
            <a:endParaRPr lang="pt-BR"/>
          </a:p>
        </p:txBody>
      </p:sp>
    </p:spTree>
    <p:extLst>
      <p:ext uri="{BB962C8B-B14F-4D97-AF65-F5344CB8AC3E}">
        <p14:creationId xmlns:p14="http://schemas.microsoft.com/office/powerpoint/2010/main" val="32316122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vmlDrawing" Target="../drawings/vmlDrawing1.v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oleObject" Target="../embeddings/oleObject7.bin"/><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ags" Target="../tags/tag8.xml"/><Relationship Id="rId2" Type="http://schemas.openxmlformats.org/officeDocument/2006/relationships/slideLayout" Target="../slideLayouts/slideLayout39.xml"/><Relationship Id="rId16" Type="http://schemas.openxmlformats.org/officeDocument/2006/relationships/tags" Target="../tags/tag7.xml"/><Relationship Id="rId20" Type="http://schemas.openxmlformats.org/officeDocument/2006/relationships/oleObject" Target="../embeddings/oleObject8.bin"/><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vmlDrawing" Target="../drawings/vmlDrawing7.vml"/><Relationship Id="rId10" Type="http://schemas.openxmlformats.org/officeDocument/2006/relationships/slideLayout" Target="../slideLayouts/slideLayout47.xml"/><Relationship Id="rId19"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E2E50846-23C9-4432-817C-870D15B9349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93B6F091-332F-423C-BEF3-5E534B90932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CC0036E8-635F-4F89-8BDD-BF56054E029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001C09-37A7-417A-8C0B-E974C1596AA4}" type="datetimeFigureOut">
              <a:rPr lang="pt-BR" smtClean="0"/>
              <a:t>06/06/2018</a:t>
            </a:fld>
            <a:endParaRPr lang="pt-BR"/>
          </a:p>
        </p:txBody>
      </p:sp>
      <p:sp>
        <p:nvSpPr>
          <p:cNvPr id="5" name="Espaço Reservado para Rodapé 4">
            <a:extLst>
              <a:ext uri="{FF2B5EF4-FFF2-40B4-BE49-F238E27FC236}">
                <a16:creationId xmlns:a16="http://schemas.microsoft.com/office/drawing/2014/main" id="{94D50507-D549-4015-8438-EE77D08FB5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4564C7B4-5691-40A5-9D33-1329E1B74F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7AB0F1-16CB-484C-824C-D9E933A60A22}" type="slidenum">
              <a:rPr lang="pt-BR" smtClean="0"/>
              <a:t>‹nº›</a:t>
            </a:fld>
            <a:endParaRPr lang="pt-BR"/>
          </a:p>
        </p:txBody>
      </p:sp>
    </p:spTree>
    <p:extLst>
      <p:ext uri="{BB962C8B-B14F-4D97-AF65-F5344CB8AC3E}">
        <p14:creationId xmlns:p14="http://schemas.microsoft.com/office/powerpoint/2010/main" val="15946019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lumMod val="95000"/>
          </a:schemeClr>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18" imgW="270" imgH="270" progId="TCLayout.ActiveDocument.1">
                  <p:embed/>
                </p:oleObj>
              </mc:Choice>
              <mc:Fallback>
                <p:oleObj name="think-cell Slide" r:id="rId18" imgW="270" imgH="270" progId="TCLayout.ActiveDocument.1">
                  <p:embed/>
                  <p:pic>
                    <p:nvPicPr>
                      <p:cNvPr id="15" name="Object 1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531327" y="378854"/>
            <a:ext cx="11158650" cy="701731"/>
          </a:xfrm>
          <a:prstGeom prst="rect">
            <a:avLst/>
          </a:prstGeom>
          <a:noFill/>
        </p:spPr>
        <p:txBody>
          <a:bodyPr wrap="square" lIns="0" rIns="0" rtlCol="0" anchor="b">
            <a:spAutoFit/>
          </a:bodyPr>
          <a:lstStyle/>
          <a:p>
            <a:pPr marL="0" lvl="0"/>
            <a:r>
              <a:rPr lang="en-US" dirty="0" err="1"/>
              <a:t>Tema</a:t>
            </a:r>
            <a:r>
              <a:rPr lang="en-US" dirty="0"/>
              <a:t> 1</a:t>
            </a:r>
          </a:p>
        </p:txBody>
      </p:sp>
      <p:sp>
        <p:nvSpPr>
          <p:cNvPr id="14" name="Text Placeholder 2"/>
          <p:cNvSpPr>
            <a:spLocks noGrp="1"/>
          </p:cNvSpPr>
          <p:nvPr>
            <p:ph type="body" idx="1"/>
          </p:nvPr>
        </p:nvSpPr>
        <p:spPr>
          <a:xfrm>
            <a:off x="531327" y="1508400"/>
            <a:ext cx="11158649" cy="4615200"/>
          </a:xfrm>
          <a:prstGeom prst="rect">
            <a:avLst/>
          </a:prstGeom>
        </p:spPr>
        <p:txBody>
          <a:bodyPr vert="horz" lIns="0" tIns="0" rIns="0" bIns="0" rtlCol="0">
            <a:noAutofit/>
          </a:bodyPr>
          <a:lstStyle/>
          <a:p>
            <a:pPr lvl="0"/>
            <a:r>
              <a:rPr lang="en-US" dirty="0" err="1"/>
              <a:t>Texto</a:t>
            </a:r>
            <a:endParaRPr lang="en-US" dirty="0"/>
          </a:p>
          <a:p>
            <a:pPr lvl="1"/>
            <a:r>
              <a:rPr lang="en-US" dirty="0" err="1"/>
              <a:t>Texto</a:t>
            </a:r>
            <a:endParaRPr lang="en-US" dirty="0"/>
          </a:p>
        </p:txBody>
      </p:sp>
    </p:spTree>
    <p:extLst>
      <p:ext uri="{BB962C8B-B14F-4D97-AF65-F5344CB8AC3E}">
        <p14:creationId xmlns:p14="http://schemas.microsoft.com/office/powerpoint/2010/main" val="38490360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lang="en-US" sz="4400" b="1" kern="1200" dirty="0">
          <a:solidFill>
            <a:srgbClr val="13243D"/>
          </a:solidFill>
          <a:latin typeface="Calibri"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000" kern="1200" dirty="0" smtClean="0">
          <a:solidFill>
            <a:srgbClr val="4B586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rgbClr val="4B586B"/>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rgbClr val="4B586B"/>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rgbClr val="4B586B"/>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rgbClr val="4B586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estilo do título mestre</a:t>
            </a: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BC6A32-C88E-444C-B0AD-015624CAE355}" type="datetimeFigureOut">
              <a:rPr lang="pt-BR" smtClean="0"/>
              <a:t>06/06/2018</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3E0248-A4FE-9141-8DA8-B73960ECFD1A}" type="slidenum">
              <a:rPr lang="pt-BR" smtClean="0"/>
              <a:t>‹nº›</a:t>
            </a:fld>
            <a:endParaRPr lang="pt-BR"/>
          </a:p>
        </p:txBody>
      </p:sp>
    </p:spTree>
    <p:extLst>
      <p:ext uri="{BB962C8B-B14F-4D97-AF65-F5344CB8AC3E}">
        <p14:creationId xmlns:p14="http://schemas.microsoft.com/office/powerpoint/2010/main" val="89500849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2">
            <a:lumMod val="95000"/>
          </a:schemeClr>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 name="think-cell Slide" r:id="rId18" imgW="270" imgH="270" progId="TCLayout.ActiveDocument.1">
                  <p:embed/>
                </p:oleObj>
              </mc:Choice>
              <mc:Fallback>
                <p:oleObj name="think-cell Slide" r:id="rId18" imgW="270" imgH="270" progId="TCLayout.ActiveDocument.1">
                  <p:embed/>
                  <p:pic>
                    <p:nvPicPr>
                      <p:cNvPr id="15" name="Object 1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531327" y="378854"/>
            <a:ext cx="11158650" cy="701731"/>
          </a:xfrm>
          <a:prstGeom prst="rect">
            <a:avLst/>
          </a:prstGeom>
          <a:noFill/>
        </p:spPr>
        <p:txBody>
          <a:bodyPr wrap="square" lIns="0" rIns="0" rtlCol="0" anchor="b">
            <a:spAutoFit/>
          </a:bodyPr>
          <a:lstStyle/>
          <a:p>
            <a:pPr marL="0" lvl="0"/>
            <a:r>
              <a:rPr lang="en-US" dirty="0" err="1"/>
              <a:t>Tema</a:t>
            </a:r>
            <a:r>
              <a:rPr lang="en-US" dirty="0"/>
              <a:t> 1</a:t>
            </a:r>
          </a:p>
        </p:txBody>
      </p:sp>
      <p:sp>
        <p:nvSpPr>
          <p:cNvPr id="14" name="Text Placeholder 2"/>
          <p:cNvSpPr>
            <a:spLocks noGrp="1"/>
          </p:cNvSpPr>
          <p:nvPr>
            <p:ph type="body" idx="1"/>
          </p:nvPr>
        </p:nvSpPr>
        <p:spPr>
          <a:xfrm>
            <a:off x="531327" y="1508400"/>
            <a:ext cx="11158649" cy="4615200"/>
          </a:xfrm>
          <a:prstGeom prst="rect">
            <a:avLst/>
          </a:prstGeom>
        </p:spPr>
        <p:txBody>
          <a:bodyPr vert="horz" lIns="0" tIns="0" rIns="0" bIns="0" rtlCol="0">
            <a:noAutofit/>
          </a:bodyPr>
          <a:lstStyle/>
          <a:p>
            <a:pPr lvl="0"/>
            <a:r>
              <a:rPr lang="en-US" dirty="0" err="1"/>
              <a:t>Texto</a:t>
            </a:r>
            <a:endParaRPr lang="en-US" dirty="0"/>
          </a:p>
          <a:p>
            <a:pPr lvl="1"/>
            <a:r>
              <a:rPr lang="en-US" dirty="0" err="1"/>
              <a:t>Texto</a:t>
            </a:r>
            <a:endParaRPr lang="en-US" dirty="0"/>
          </a:p>
        </p:txBody>
      </p:sp>
      <p:graphicFrame>
        <p:nvGraphicFramePr>
          <p:cNvPr id="5" name="Object 4" hidden="1"/>
          <p:cNvGraphicFramePr>
            <a:graphicFrameLocks noChangeAspect="1"/>
          </p:cNvGraphicFramePr>
          <p:nvPr>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3" name="think-cell Slide" r:id="rId20" imgW="270" imgH="270" progId="TCLayout.ActiveDocument.1">
                  <p:embed/>
                </p:oleObj>
              </mc:Choice>
              <mc:Fallback>
                <p:oleObj name="think-cell Slide" r:id="rId20" imgW="270" imgH="270" progId="TCLayout.ActiveDocument.1">
                  <p:embed/>
                  <p:pic>
                    <p:nvPicPr>
                      <p:cNvPr id="5" name="Object 4" hidden="1"/>
                      <p:cNvPicPr/>
                      <p:nvPr/>
                    </p:nvPicPr>
                    <p:blipFill>
                      <a:blip r:embed="rId1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1617035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txStyles>
    <p:titleStyle>
      <a:lvl1pPr algn="l" defTabSz="914400" rtl="0" eaLnBrk="1" latinLnBrk="0" hangingPunct="1">
        <a:lnSpc>
          <a:spcPct val="90000"/>
        </a:lnSpc>
        <a:spcBef>
          <a:spcPct val="0"/>
        </a:spcBef>
        <a:buNone/>
        <a:defRPr lang="en-US" sz="4400" b="1" kern="1200" dirty="0">
          <a:solidFill>
            <a:srgbClr val="13243D"/>
          </a:solidFill>
          <a:latin typeface="Calibri"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000" kern="1200" dirty="0" smtClean="0">
          <a:solidFill>
            <a:srgbClr val="4B586B"/>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rgbClr val="4B586B"/>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rgbClr val="4B586B"/>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rgbClr val="4B586B"/>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rgbClr val="4B586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xml"/><Relationship Id="rId1" Type="http://schemas.openxmlformats.org/officeDocument/2006/relationships/slideLayout" Target="../slideLayouts/slideLayout4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43.xml"/><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43.xml"/><Relationship Id="rId5" Type="http://schemas.openxmlformats.org/officeDocument/2006/relationships/image" Target="../media/image45.gif"/><Relationship Id="rId4" Type="http://schemas.openxmlformats.org/officeDocument/2006/relationships/image" Target="../media/image39.jpeg"/></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emf"/><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chart" Target="../charts/chart1.xml"/><Relationship Id="rId7" Type="http://schemas.openxmlformats.org/officeDocument/2006/relationships/image" Target="../media/image54.png"/><Relationship Id="rId2" Type="http://schemas.openxmlformats.org/officeDocument/2006/relationships/image" Target="../media/image3.emf"/><Relationship Id="rId1" Type="http://schemas.openxmlformats.org/officeDocument/2006/relationships/slideLayout" Target="../slideLayouts/slideLayout2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1.xml"/><Relationship Id="rId1" Type="http://schemas.openxmlformats.org/officeDocument/2006/relationships/slideLayout" Target="../slideLayouts/slideLayout25.xml"/><Relationship Id="rId5" Type="http://schemas.openxmlformats.org/officeDocument/2006/relationships/image" Target="../media/image15.emf"/><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slideLayout" Target="../slideLayouts/slideLayout24.xml"/><Relationship Id="rId21" Type="http://schemas.openxmlformats.org/officeDocument/2006/relationships/image" Target="../media/image37.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tags" Target="../tags/tag17.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vmlDrawing" Target="../drawings/vmlDrawing13.v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1.emf"/><Relationship Id="rId15" Type="http://schemas.openxmlformats.org/officeDocument/2006/relationships/image" Target="../media/image31.png"/><Relationship Id="rId10" Type="http://schemas.openxmlformats.org/officeDocument/2006/relationships/image" Target="../media/image26.png"/><Relationship Id="rId19" Type="http://schemas.openxmlformats.org/officeDocument/2006/relationships/image" Target="../media/image35.png"/><Relationship Id="rId4" Type="http://schemas.openxmlformats.org/officeDocument/2006/relationships/oleObject" Target="../embeddings/oleObject17.bin"/><Relationship Id="rId9" Type="http://schemas.openxmlformats.org/officeDocument/2006/relationships/image" Target="../media/image25.png"/><Relationship Id="rId14" Type="http://schemas.openxmlformats.org/officeDocument/2006/relationships/image" Target="../media/image30.jpeg"/><Relationship Id="rId22" Type="http://schemas.openxmlformats.org/officeDocument/2006/relationships/image" Target="../media/image38.pn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56738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338448-20A6-49B4-AE42-0C4251FD1251}"/>
              </a:ext>
            </a:extLst>
          </p:cNvPr>
          <p:cNvSpPr>
            <a:spLocks noGrp="1"/>
          </p:cNvSpPr>
          <p:nvPr>
            <p:ph type="title"/>
          </p:nvPr>
        </p:nvSpPr>
        <p:spPr>
          <a:xfrm>
            <a:off x="320244" y="49216"/>
            <a:ext cx="11158650" cy="1200329"/>
          </a:xfrm>
        </p:spPr>
        <p:txBody>
          <a:bodyPr/>
          <a:lstStyle/>
          <a:p>
            <a:r>
              <a:rPr lang="pt-BR" sz="4000" dirty="0"/>
              <a:t>Várias organizações tentam desenvolver </a:t>
            </a:r>
            <a:br>
              <a:rPr lang="pt-BR" sz="4000" dirty="0"/>
            </a:br>
            <a:r>
              <a:rPr lang="pt-BR" sz="4000" dirty="0"/>
              <a:t>avaliação de políticas de TIC na educação...</a:t>
            </a:r>
          </a:p>
        </p:txBody>
      </p:sp>
      <p:sp>
        <p:nvSpPr>
          <p:cNvPr id="4" name="Espaço Reservado para Conteúdo 3">
            <a:extLst>
              <a:ext uri="{FF2B5EF4-FFF2-40B4-BE49-F238E27FC236}">
                <a16:creationId xmlns:a16="http://schemas.microsoft.com/office/drawing/2014/main" id="{334E7104-EE4C-49C7-8BEA-7AA7CA85C188}"/>
              </a:ext>
            </a:extLst>
          </p:cNvPr>
          <p:cNvSpPr>
            <a:spLocks noGrp="1"/>
          </p:cNvSpPr>
          <p:nvPr>
            <p:ph idx="1"/>
          </p:nvPr>
        </p:nvSpPr>
        <p:spPr>
          <a:xfrm>
            <a:off x="0" y="1656670"/>
            <a:ext cx="11799139" cy="1186565"/>
          </a:xfrm>
        </p:spPr>
        <p:txBody>
          <a:bodyPr/>
          <a:lstStyle/>
          <a:p>
            <a:pPr marL="0" indent="0" algn="ctr">
              <a:buNone/>
            </a:pPr>
            <a:endParaRPr lang="pt-BR" sz="2200" dirty="0"/>
          </a:p>
        </p:txBody>
      </p:sp>
      <p:pic>
        <p:nvPicPr>
          <p:cNvPr id="24578" name="Picture 2" descr="Resultado de imagem para ocde">
            <a:extLst>
              <a:ext uri="{FF2B5EF4-FFF2-40B4-BE49-F238E27FC236}">
                <a16:creationId xmlns:a16="http://schemas.microsoft.com/office/drawing/2014/main" id="{F392A180-D712-4CB2-9997-D1AE5A26F7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663" y="2578460"/>
            <a:ext cx="2373127" cy="118656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Resultado de imagem para infodev the world bank group logo">
            <a:extLst>
              <a:ext uri="{FF2B5EF4-FFF2-40B4-BE49-F238E27FC236}">
                <a16:creationId xmlns:a16="http://schemas.microsoft.com/office/drawing/2014/main" id="{DFB16E72-012E-4696-AD52-4DC971022D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3730" y="2059827"/>
            <a:ext cx="3571598" cy="2381066"/>
          </a:xfrm>
          <a:prstGeom prst="rect">
            <a:avLst/>
          </a:prstGeom>
          <a:noFill/>
          <a:extLst>
            <a:ext uri="{909E8E84-426E-40DD-AFC4-6F175D3DCCD1}">
              <a14:hiddenFill xmlns:a14="http://schemas.microsoft.com/office/drawing/2010/main">
                <a:solidFill>
                  <a:srgbClr val="FFFFFF"/>
                </a:solidFill>
              </a14:hiddenFill>
            </a:ext>
          </a:extLst>
        </p:spPr>
      </p:pic>
      <p:pic>
        <p:nvPicPr>
          <p:cNvPr id="24580" name="Picture 4" descr="Resultado de imagem para unesco institute for statistics transparent background">
            <a:extLst>
              <a:ext uri="{FF2B5EF4-FFF2-40B4-BE49-F238E27FC236}">
                <a16:creationId xmlns:a16="http://schemas.microsoft.com/office/drawing/2014/main" id="{BBC9D6BE-8C83-45D9-B6B3-D4C26E9842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96165" y="2231093"/>
            <a:ext cx="2381250" cy="2209800"/>
          </a:xfrm>
          <a:prstGeom prst="rect">
            <a:avLst/>
          </a:prstGeom>
          <a:noFill/>
          <a:extLst>
            <a:ext uri="{909E8E84-426E-40DD-AFC4-6F175D3DCCD1}">
              <a14:hiddenFill xmlns:a14="http://schemas.microsoft.com/office/drawing/2010/main">
                <a:solidFill>
                  <a:srgbClr val="FFFFFF"/>
                </a:solidFill>
              </a14:hiddenFill>
            </a:ext>
          </a:extLst>
        </p:spPr>
      </p:pic>
      <p:pic>
        <p:nvPicPr>
          <p:cNvPr id="24582" name="Picture 6" descr="Resultado de imagem para unesco institute for statistics">
            <a:extLst>
              <a:ext uri="{FF2B5EF4-FFF2-40B4-BE49-F238E27FC236}">
                <a16:creationId xmlns:a16="http://schemas.microsoft.com/office/drawing/2014/main" id="{AB6D790B-9340-4BF8-8EB5-535F960059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21153" y="2775301"/>
            <a:ext cx="1634248" cy="1307398"/>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a:extLst>
              <a:ext uri="{FF2B5EF4-FFF2-40B4-BE49-F238E27FC236}">
                <a16:creationId xmlns:a16="http://schemas.microsoft.com/office/drawing/2014/main" id="{48A25F58-94AA-44FC-A39C-CD25C106A45E}"/>
              </a:ext>
            </a:extLst>
          </p:cNvPr>
          <p:cNvSpPr/>
          <p:nvPr/>
        </p:nvSpPr>
        <p:spPr>
          <a:xfrm>
            <a:off x="320244" y="4964446"/>
            <a:ext cx="11871756" cy="1323439"/>
          </a:xfrm>
          <a:prstGeom prst="rect">
            <a:avLst/>
          </a:prstGeom>
        </p:spPr>
        <p:txBody>
          <a:bodyPr wrap="square">
            <a:spAutoFit/>
          </a:bodyPr>
          <a:lstStyle/>
          <a:p>
            <a:r>
              <a:rPr lang="pt-BR" sz="4000" dirty="0"/>
              <a:t>...      </a:t>
            </a:r>
            <a:r>
              <a:rPr lang="pt-BR" sz="4000" b="1" dirty="0"/>
              <a:t>mas os indicadores são complexos e difíceis </a:t>
            </a:r>
          </a:p>
          <a:p>
            <a:r>
              <a:rPr lang="pt-BR" sz="4000" b="1" dirty="0"/>
              <a:t>                                                                    de serem isolados</a:t>
            </a:r>
          </a:p>
        </p:txBody>
      </p:sp>
    </p:spTree>
    <p:extLst>
      <p:ext uri="{BB962C8B-B14F-4D97-AF65-F5344CB8AC3E}">
        <p14:creationId xmlns:p14="http://schemas.microsoft.com/office/powerpoint/2010/main" val="1171471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B94E0CD-F31C-4973-8CCC-EEF5D4328399}"/>
              </a:ext>
            </a:extLst>
          </p:cNvPr>
          <p:cNvSpPr>
            <a:spLocks noGrp="1"/>
          </p:cNvSpPr>
          <p:nvPr>
            <p:ph type="title"/>
          </p:nvPr>
        </p:nvSpPr>
        <p:spPr>
          <a:xfrm>
            <a:off x="420491" y="477455"/>
            <a:ext cx="11158650" cy="646331"/>
          </a:xfrm>
        </p:spPr>
        <p:txBody>
          <a:bodyPr/>
          <a:lstStyle/>
          <a:p>
            <a:r>
              <a:rPr lang="pt-BR" sz="4000" b="0" dirty="0"/>
              <a:t>Exemplo 1: UNESCO</a:t>
            </a:r>
          </a:p>
        </p:txBody>
      </p:sp>
      <p:sp>
        <p:nvSpPr>
          <p:cNvPr id="3" name="Espaço Reservado para Conteúdo 2">
            <a:extLst>
              <a:ext uri="{FF2B5EF4-FFF2-40B4-BE49-F238E27FC236}">
                <a16:creationId xmlns:a16="http://schemas.microsoft.com/office/drawing/2014/main" id="{134C25C1-1545-45F4-BDBE-9F3EBCA30695}"/>
              </a:ext>
            </a:extLst>
          </p:cNvPr>
          <p:cNvSpPr>
            <a:spLocks noGrp="1"/>
          </p:cNvSpPr>
          <p:nvPr>
            <p:ph idx="1"/>
          </p:nvPr>
        </p:nvSpPr>
        <p:spPr>
          <a:xfrm>
            <a:off x="1315284" y="1832838"/>
            <a:ext cx="9561431" cy="239057"/>
          </a:xfrm>
        </p:spPr>
        <p:txBody>
          <a:bodyPr/>
          <a:lstStyle/>
          <a:p>
            <a:pPr marL="457200" lvl="1" indent="0">
              <a:lnSpc>
                <a:spcPct val="100000"/>
              </a:lnSpc>
              <a:buNone/>
            </a:pPr>
            <a:r>
              <a:rPr lang="en-US" sz="2400" b="1" i="1" dirty="0" err="1"/>
              <a:t>Modelo</a:t>
            </a:r>
            <a:r>
              <a:rPr lang="en-US" sz="2400" b="1" i="1" dirty="0"/>
              <a:t> para </a:t>
            </a:r>
            <a:r>
              <a:rPr lang="en-US" sz="2400" b="1" i="1" dirty="0" err="1"/>
              <a:t>indicadores</a:t>
            </a:r>
            <a:r>
              <a:rPr lang="en-US" sz="2400" b="1" i="1" dirty="0"/>
              <a:t> da </a:t>
            </a:r>
            <a:r>
              <a:rPr lang="en-US" sz="2400" b="1" i="1" dirty="0" err="1"/>
              <a:t>integração</a:t>
            </a:r>
            <a:r>
              <a:rPr lang="en-US" sz="2400" b="1" i="1" dirty="0"/>
              <a:t> de TICs </a:t>
            </a:r>
            <a:r>
              <a:rPr lang="en-US" sz="2400" b="1" i="1" dirty="0" err="1"/>
              <a:t>em</a:t>
            </a:r>
            <a:r>
              <a:rPr lang="en-US" sz="2400" b="1" i="1" dirty="0"/>
              <a:t> escolas</a:t>
            </a:r>
            <a:r>
              <a:rPr lang="en-US" sz="2400" b="1" i="1" baseline="30000" dirty="0"/>
              <a:t>1</a:t>
            </a:r>
            <a:endParaRPr lang="pt-BR" sz="2800" b="1" i="1" dirty="0"/>
          </a:p>
        </p:txBody>
      </p:sp>
      <p:pic>
        <p:nvPicPr>
          <p:cNvPr id="4" name="Imagem 3">
            <a:extLst>
              <a:ext uri="{FF2B5EF4-FFF2-40B4-BE49-F238E27FC236}">
                <a16:creationId xmlns:a16="http://schemas.microsoft.com/office/drawing/2014/main" id="{FBAABFD1-F6C4-4FB5-89A9-444CAE1CE661}"/>
              </a:ext>
            </a:extLst>
          </p:cNvPr>
          <p:cNvPicPr>
            <a:picLocks noChangeAspect="1"/>
          </p:cNvPicPr>
          <p:nvPr/>
        </p:nvPicPr>
        <p:blipFill rotWithShape="1">
          <a:blip r:embed="rId3"/>
          <a:srcRect b="9474"/>
          <a:stretch/>
        </p:blipFill>
        <p:spPr>
          <a:xfrm>
            <a:off x="531327" y="2333768"/>
            <a:ext cx="10544111" cy="3575714"/>
          </a:xfrm>
          <a:prstGeom prst="rect">
            <a:avLst/>
          </a:prstGeom>
        </p:spPr>
      </p:pic>
      <p:pic>
        <p:nvPicPr>
          <p:cNvPr id="7" name="Picture 4" descr="Resultado de imagem para unesco institute for statistics transparent background">
            <a:extLst>
              <a:ext uri="{FF2B5EF4-FFF2-40B4-BE49-F238E27FC236}">
                <a16:creationId xmlns:a16="http://schemas.microsoft.com/office/drawing/2014/main" id="{C7075157-195F-48D5-81B8-B583A457A5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32821" y="5629305"/>
            <a:ext cx="1371050" cy="1272334"/>
          </a:xfrm>
          <a:prstGeom prst="rect">
            <a:avLst/>
          </a:prstGeom>
          <a:noFill/>
          <a:extLst>
            <a:ext uri="{909E8E84-426E-40DD-AFC4-6F175D3DCCD1}">
              <a14:hiddenFill xmlns:a14="http://schemas.microsoft.com/office/drawing/2010/main">
                <a:solidFill>
                  <a:srgbClr val="FFFFFF"/>
                </a:solidFill>
              </a14:hiddenFill>
            </a:ext>
          </a:extLst>
        </p:spPr>
      </p:pic>
      <p:sp>
        <p:nvSpPr>
          <p:cNvPr id="6" name="Espaço Reservado para Conteúdo 2">
            <a:extLst>
              <a:ext uri="{FF2B5EF4-FFF2-40B4-BE49-F238E27FC236}">
                <a16:creationId xmlns:a16="http://schemas.microsoft.com/office/drawing/2014/main" id="{8495962C-A5C4-4AEA-8E2A-CA1AFAEB014A}"/>
              </a:ext>
            </a:extLst>
          </p:cNvPr>
          <p:cNvSpPr txBox="1">
            <a:spLocks/>
          </p:cNvSpPr>
          <p:nvPr/>
        </p:nvSpPr>
        <p:spPr>
          <a:xfrm>
            <a:off x="4871803" y="6618534"/>
            <a:ext cx="7210269" cy="368561"/>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000" kern="1200">
                <a:solidFill>
                  <a:srgbClr val="13243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800" kern="1200">
                <a:solidFill>
                  <a:srgbClr val="13243D"/>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rgbClr val="4B586B"/>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rgbClr val="4B586B"/>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rgbClr val="4B586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r"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r>
              <a:rPr kumimoji="0" lang="en-US" sz="1200" b="1" i="1" u="none" strike="noStrike" kern="1200" cap="none" spc="0" normalizeH="0" baseline="30000" noProof="0" dirty="0">
                <a:ln>
                  <a:noFill/>
                </a:ln>
                <a:solidFill>
                  <a:srgbClr val="13243D"/>
                </a:solidFill>
                <a:effectLst/>
                <a:uLnTx/>
                <a:uFillTx/>
                <a:latin typeface="Calibri"/>
                <a:ea typeface="+mn-ea"/>
                <a:cs typeface="+mn-cs"/>
              </a:rPr>
              <a:t>1</a:t>
            </a:r>
            <a:r>
              <a:rPr kumimoji="0" lang="en-US" sz="1200" b="1" i="1" u="none" strike="noStrike" kern="1200" cap="none" spc="0" normalizeH="0" baseline="0" noProof="0" dirty="0">
                <a:ln>
                  <a:noFill/>
                </a:ln>
                <a:solidFill>
                  <a:srgbClr val="13243D"/>
                </a:solidFill>
                <a:effectLst/>
                <a:uLnTx/>
                <a:uFillTx/>
                <a:latin typeface="Calibri"/>
                <a:ea typeface="+mn-ea"/>
                <a:cs typeface="+mn-cs"/>
              </a:rPr>
              <a:t>Model for obtaining indicators on ICT integration in schools (UNESCO, 2016)</a:t>
            </a:r>
            <a:endParaRPr kumimoji="0" lang="en-US" sz="1400" b="1" i="1" u="none" strike="noStrike" kern="1200" cap="none" spc="0" normalizeH="0" baseline="0" noProof="0" dirty="0">
              <a:ln>
                <a:noFill/>
              </a:ln>
              <a:solidFill>
                <a:srgbClr val="13243D"/>
              </a:solidFill>
              <a:effectLst/>
              <a:uLnTx/>
              <a:uFillTx/>
              <a:latin typeface="Calibri"/>
              <a:ea typeface="+mn-ea"/>
              <a:cs typeface="+mn-cs"/>
            </a:endParaRPr>
          </a:p>
        </p:txBody>
      </p:sp>
    </p:spTree>
    <p:extLst>
      <p:ext uri="{BB962C8B-B14F-4D97-AF65-F5344CB8AC3E}">
        <p14:creationId xmlns:p14="http://schemas.microsoft.com/office/powerpoint/2010/main" val="10398868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9C1725-42C5-438A-A49F-1D9FEE5FB307}"/>
              </a:ext>
            </a:extLst>
          </p:cNvPr>
          <p:cNvSpPr>
            <a:spLocks noGrp="1"/>
          </p:cNvSpPr>
          <p:nvPr>
            <p:ph type="title"/>
          </p:nvPr>
        </p:nvSpPr>
        <p:spPr>
          <a:xfrm>
            <a:off x="531327" y="434254"/>
            <a:ext cx="11158650" cy="646331"/>
          </a:xfrm>
        </p:spPr>
        <p:txBody>
          <a:bodyPr/>
          <a:lstStyle/>
          <a:p>
            <a:r>
              <a:rPr lang="pt-BR" sz="4000" dirty="0"/>
              <a:t>Exemplo 2: </a:t>
            </a:r>
            <a:r>
              <a:rPr lang="pt-BR" sz="3200" dirty="0"/>
              <a:t>OCDE/EUROPEAN COMMISSION </a:t>
            </a:r>
            <a:r>
              <a:rPr lang="pt-BR" sz="3200" b="0" dirty="0"/>
              <a:t>(2009) </a:t>
            </a:r>
          </a:p>
        </p:txBody>
      </p:sp>
      <p:pic>
        <p:nvPicPr>
          <p:cNvPr id="4" name="Imagem 3">
            <a:extLst>
              <a:ext uri="{FF2B5EF4-FFF2-40B4-BE49-F238E27FC236}">
                <a16:creationId xmlns:a16="http://schemas.microsoft.com/office/drawing/2014/main" id="{2AFF818B-B989-4742-ABB9-1A9DC63C198F}"/>
              </a:ext>
            </a:extLst>
          </p:cNvPr>
          <p:cNvPicPr>
            <a:picLocks noChangeAspect="1"/>
          </p:cNvPicPr>
          <p:nvPr/>
        </p:nvPicPr>
        <p:blipFill>
          <a:blip r:embed="rId3"/>
          <a:stretch>
            <a:fillRect/>
          </a:stretch>
        </p:blipFill>
        <p:spPr>
          <a:xfrm>
            <a:off x="645431" y="1615225"/>
            <a:ext cx="10704971" cy="5017320"/>
          </a:xfrm>
          <a:prstGeom prst="rect">
            <a:avLst/>
          </a:prstGeom>
        </p:spPr>
      </p:pic>
      <p:sp>
        <p:nvSpPr>
          <p:cNvPr id="5" name="CaixaDeTexto 4">
            <a:extLst>
              <a:ext uri="{FF2B5EF4-FFF2-40B4-BE49-F238E27FC236}">
                <a16:creationId xmlns:a16="http://schemas.microsoft.com/office/drawing/2014/main" id="{B27EE848-95C1-45F8-ADCE-DD4CA088F20E}"/>
              </a:ext>
            </a:extLst>
          </p:cNvPr>
          <p:cNvSpPr txBox="1"/>
          <p:nvPr/>
        </p:nvSpPr>
        <p:spPr>
          <a:xfrm>
            <a:off x="3357797" y="6587698"/>
            <a:ext cx="8789122"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30000" noProof="0" dirty="0">
                <a:ln>
                  <a:noFill/>
                </a:ln>
                <a:solidFill>
                  <a:srgbClr val="141E3D"/>
                </a:solidFill>
                <a:effectLst/>
                <a:uLnTx/>
                <a:uFillTx/>
                <a:latin typeface="Calibri"/>
                <a:ea typeface="+mn-ea"/>
                <a:cs typeface="+mn-cs"/>
              </a:rPr>
              <a:t>1</a:t>
            </a:r>
            <a:r>
              <a:rPr kumimoji="0" lang="en-US" sz="1200" b="1" i="1" u="none" strike="noStrike" kern="1200" cap="none" spc="0" normalizeH="0" baseline="0" noProof="0" dirty="0">
                <a:ln>
                  <a:noFill/>
                </a:ln>
                <a:solidFill>
                  <a:srgbClr val="141E3D"/>
                </a:solidFill>
                <a:effectLst/>
                <a:uLnTx/>
                <a:uFillTx/>
                <a:latin typeface="Calibri"/>
                <a:ea typeface="+mn-ea"/>
                <a:cs typeface="+mn-cs"/>
              </a:rPr>
              <a:t>The conceptual framework for the design, implementation, monitoring and evaluation of ICT projects in education (OCDE,2009) </a:t>
            </a:r>
            <a:endParaRPr kumimoji="0" lang="pt-BR" sz="1200" b="0" i="1" u="none" strike="noStrike" kern="1200" cap="none" spc="0" normalizeH="0" baseline="0" noProof="0" dirty="0">
              <a:ln>
                <a:noFill/>
              </a:ln>
              <a:solidFill>
                <a:srgbClr val="141E3D"/>
              </a:solidFill>
              <a:effectLst/>
              <a:uLnTx/>
              <a:uFillTx/>
              <a:latin typeface="Calibri"/>
              <a:ea typeface="+mn-ea"/>
              <a:cs typeface="+mn-cs"/>
            </a:endParaRPr>
          </a:p>
        </p:txBody>
      </p:sp>
      <p:pic>
        <p:nvPicPr>
          <p:cNvPr id="6" name="Picture 2" descr="Resultado de imagem para ocde">
            <a:extLst>
              <a:ext uri="{FF2B5EF4-FFF2-40B4-BE49-F238E27FC236}">
                <a16:creationId xmlns:a16="http://schemas.microsoft.com/office/drawing/2014/main" id="{F6AED21C-0C94-4480-9343-CC06C56DA4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00255" y="684463"/>
            <a:ext cx="1480313" cy="723332"/>
          </a:xfrm>
          <a:prstGeom prst="rect">
            <a:avLst/>
          </a:prstGeom>
          <a:noFill/>
          <a:extLst>
            <a:ext uri="{909E8E84-426E-40DD-AFC4-6F175D3DCCD1}">
              <a14:hiddenFill xmlns:a14="http://schemas.microsoft.com/office/drawing/2010/main">
                <a:solidFill>
                  <a:srgbClr val="FFFFFF"/>
                </a:solidFill>
              </a14:hiddenFill>
            </a:ext>
          </a:extLst>
        </p:spPr>
      </p:pic>
      <p:sp>
        <p:nvSpPr>
          <p:cNvPr id="3" name="Chave Direita 2">
            <a:extLst>
              <a:ext uri="{FF2B5EF4-FFF2-40B4-BE49-F238E27FC236}">
                <a16:creationId xmlns:a16="http://schemas.microsoft.com/office/drawing/2014/main" id="{20CEA32B-D286-4419-9DAA-3359AB0DB436}"/>
              </a:ext>
            </a:extLst>
          </p:cNvPr>
          <p:cNvSpPr/>
          <p:nvPr/>
        </p:nvSpPr>
        <p:spPr>
          <a:xfrm>
            <a:off x="11212046" y="2388091"/>
            <a:ext cx="423080" cy="4244454"/>
          </a:xfrm>
          <a:prstGeom prst="rightBrace">
            <a:avLst>
              <a:gd name="adj1" fmla="val 8333"/>
              <a:gd name="adj2" fmla="val 48714"/>
            </a:avLst>
          </a:prstGeom>
        </p:spPr>
        <p:style>
          <a:lnRef idx="2">
            <a:schemeClr val="dk1"/>
          </a:lnRef>
          <a:fillRef idx="0">
            <a:schemeClr val="dk1"/>
          </a:fillRef>
          <a:effectRef idx="1">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141E3D"/>
              </a:solidFill>
              <a:effectLst/>
              <a:uLnTx/>
              <a:uFillTx/>
              <a:latin typeface="Calibri"/>
              <a:ea typeface="+mn-ea"/>
              <a:cs typeface="+mn-cs"/>
            </a:endParaRPr>
          </a:p>
        </p:txBody>
      </p:sp>
      <p:sp>
        <p:nvSpPr>
          <p:cNvPr id="7" name="CaixaDeTexto 6">
            <a:extLst>
              <a:ext uri="{FF2B5EF4-FFF2-40B4-BE49-F238E27FC236}">
                <a16:creationId xmlns:a16="http://schemas.microsoft.com/office/drawing/2014/main" id="{51E28E38-14EB-46C7-8D29-269914B6C56E}"/>
              </a:ext>
            </a:extLst>
          </p:cNvPr>
          <p:cNvSpPr txBox="1"/>
          <p:nvPr/>
        </p:nvSpPr>
        <p:spPr>
          <a:xfrm>
            <a:off x="11612675" y="2320008"/>
            <a:ext cx="461665" cy="4148024"/>
          </a:xfrm>
          <a:prstGeom prst="rect">
            <a:avLst/>
          </a:prstGeom>
          <a:no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141E3D"/>
                </a:solidFill>
                <a:effectLst/>
                <a:uLnTx/>
                <a:uFillTx/>
                <a:latin typeface="Calibri"/>
                <a:ea typeface="+mn-ea"/>
                <a:cs typeface="+mn-cs"/>
              </a:rPr>
              <a:t>Indicadores</a:t>
            </a:r>
          </a:p>
        </p:txBody>
      </p:sp>
      <p:pic>
        <p:nvPicPr>
          <p:cNvPr id="27650" name="Picture 2" descr="Resultado de imagem para EUROPEAN COMMISSION jrc">
            <a:extLst>
              <a:ext uri="{FF2B5EF4-FFF2-40B4-BE49-F238E27FC236}">
                <a16:creationId xmlns:a16="http://schemas.microsoft.com/office/drawing/2014/main" id="{D0CBEDC5-D41A-4928-B874-851F7F4436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00255" y="25929"/>
            <a:ext cx="1446663" cy="712203"/>
          </a:xfrm>
          <a:prstGeom prst="rect">
            <a:avLst/>
          </a:prstGeom>
          <a:noFill/>
          <a:extLst>
            <a:ext uri="{909E8E84-426E-40DD-AFC4-6F175D3DCCD1}">
              <a14:hiddenFill xmlns:a14="http://schemas.microsoft.com/office/drawing/2010/main">
                <a:solidFill>
                  <a:srgbClr val="FFFFFF"/>
                </a:solidFill>
              </a14:hiddenFill>
            </a:ext>
          </a:extLst>
        </p:spPr>
      </p:pic>
      <p:sp>
        <p:nvSpPr>
          <p:cNvPr id="9" name="CaixaDeTexto 8">
            <a:extLst>
              <a:ext uri="{FF2B5EF4-FFF2-40B4-BE49-F238E27FC236}">
                <a16:creationId xmlns:a16="http://schemas.microsoft.com/office/drawing/2014/main" id="{7F923E20-BDDF-4118-B889-F6D323D941CB}"/>
              </a:ext>
            </a:extLst>
          </p:cNvPr>
          <p:cNvSpPr txBox="1"/>
          <p:nvPr/>
        </p:nvSpPr>
        <p:spPr>
          <a:xfrm>
            <a:off x="645432" y="1309903"/>
            <a:ext cx="107049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141E3D"/>
                </a:solidFill>
                <a:effectLst/>
                <a:uLnTx/>
                <a:uFillTx/>
                <a:latin typeface="Calibri"/>
                <a:ea typeface="+mn-ea"/>
                <a:cs typeface="+mn-cs"/>
              </a:rPr>
              <a:t>M</a:t>
            </a:r>
            <a:r>
              <a:rPr kumimoji="0" lang="pt-BR" sz="1800" b="1" i="0" u="none" strike="noStrike" kern="1200" cap="none" spc="0" normalizeH="0" baseline="0" noProof="0" dirty="0">
                <a:ln>
                  <a:noFill/>
                </a:ln>
                <a:solidFill>
                  <a:srgbClr val="141E3D"/>
                </a:solidFill>
                <a:effectLst/>
                <a:uLnTx/>
                <a:uFillTx/>
                <a:latin typeface="Calibri"/>
                <a:ea typeface="+mn-ea"/>
                <a:cs typeface="+mn-cs"/>
              </a:rPr>
              <a:t>arco conceitual para o desenho, implementação, monitoramento e avaliação de projetos de TIC em educação</a:t>
            </a:r>
            <a:r>
              <a:rPr kumimoji="0" lang="pt-BR" sz="1800" b="1" i="0" u="none" strike="noStrike" kern="1200" cap="none" spc="0" normalizeH="0" baseline="30000" noProof="0" dirty="0">
                <a:ln>
                  <a:noFill/>
                </a:ln>
                <a:solidFill>
                  <a:srgbClr val="141E3D"/>
                </a:solidFill>
                <a:effectLst/>
                <a:uLnTx/>
                <a:uFillTx/>
                <a:latin typeface="Calibri"/>
                <a:ea typeface="+mn-ea"/>
                <a:cs typeface="+mn-cs"/>
              </a:rPr>
              <a:t>1</a:t>
            </a:r>
            <a:endParaRPr kumimoji="0" lang="pt-BR" sz="1400" b="1" i="1" u="none" strike="noStrike" kern="1200" cap="none" spc="0" normalizeH="0" baseline="0" noProof="0" dirty="0">
              <a:ln>
                <a:noFill/>
              </a:ln>
              <a:solidFill>
                <a:srgbClr val="141E3D"/>
              </a:solidFill>
              <a:effectLst/>
              <a:uLnTx/>
              <a:uFillTx/>
              <a:latin typeface="Calibri"/>
              <a:ea typeface="+mn-ea"/>
              <a:cs typeface="+mn-cs"/>
            </a:endParaRPr>
          </a:p>
        </p:txBody>
      </p:sp>
    </p:spTree>
    <p:extLst>
      <p:ext uri="{BB962C8B-B14F-4D97-AF65-F5344CB8AC3E}">
        <p14:creationId xmlns:p14="http://schemas.microsoft.com/office/powerpoint/2010/main" val="9879382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5" name="Straight Connector 9">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6" name="Rectangle 11">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Imagem 4">
            <a:extLst>
              <a:ext uri="{FF2B5EF4-FFF2-40B4-BE49-F238E27FC236}">
                <a16:creationId xmlns:a16="http://schemas.microsoft.com/office/drawing/2014/main" id="{EF0ECFC5-B03E-435A-8C13-11B15E8677CF}"/>
              </a:ext>
            </a:extLst>
          </p:cNvPr>
          <p:cNvPicPr>
            <a:picLocks noChangeAspect="1"/>
          </p:cNvPicPr>
          <p:nvPr/>
        </p:nvPicPr>
        <p:blipFill>
          <a:blip r:embed="rId2"/>
          <a:stretch>
            <a:fillRect/>
          </a:stretch>
        </p:blipFill>
        <p:spPr>
          <a:xfrm>
            <a:off x="320040" y="847091"/>
            <a:ext cx="5455917" cy="2918916"/>
          </a:xfrm>
          <a:prstGeom prst="rect">
            <a:avLst/>
          </a:prstGeom>
        </p:spPr>
      </p:pic>
      <p:pic>
        <p:nvPicPr>
          <p:cNvPr id="4" name="Imagem 3">
            <a:extLst>
              <a:ext uri="{FF2B5EF4-FFF2-40B4-BE49-F238E27FC236}">
                <a16:creationId xmlns:a16="http://schemas.microsoft.com/office/drawing/2014/main" id="{0A531EA8-44F1-4F29-AFF2-34C1CBB2CE16}"/>
              </a:ext>
            </a:extLst>
          </p:cNvPr>
          <p:cNvPicPr>
            <a:picLocks noChangeAspect="1"/>
          </p:cNvPicPr>
          <p:nvPr/>
        </p:nvPicPr>
        <p:blipFill>
          <a:blip r:embed="rId3"/>
          <a:stretch>
            <a:fillRect/>
          </a:stretch>
        </p:blipFill>
        <p:spPr>
          <a:xfrm>
            <a:off x="6416043" y="1692759"/>
            <a:ext cx="5455917" cy="1227581"/>
          </a:xfrm>
          <a:prstGeom prst="rect">
            <a:avLst/>
          </a:prstGeom>
        </p:spPr>
      </p:pic>
      <p:cxnSp>
        <p:nvCxnSpPr>
          <p:cNvPr id="14" name="Straight Connector 13">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2" name="Título 1">
            <a:extLst>
              <a:ext uri="{FF2B5EF4-FFF2-40B4-BE49-F238E27FC236}">
                <a16:creationId xmlns:a16="http://schemas.microsoft.com/office/drawing/2014/main" id="{E225325A-4E68-4B55-9F4C-FB2AC96731FD}"/>
              </a:ext>
            </a:extLst>
          </p:cNvPr>
          <p:cNvSpPr>
            <a:spLocks noGrp="1"/>
          </p:cNvSpPr>
          <p:nvPr>
            <p:ph type="title"/>
          </p:nvPr>
        </p:nvSpPr>
        <p:spPr>
          <a:xfrm>
            <a:off x="527538" y="4756638"/>
            <a:ext cx="11139854" cy="930447"/>
          </a:xfrm>
        </p:spPr>
        <p:txBody>
          <a:bodyPr vert="horz" lIns="91440" tIns="45720" rIns="91440" bIns="45720" rtlCol="0" anchor="b">
            <a:normAutofit/>
          </a:bodyPr>
          <a:lstStyle/>
          <a:p>
            <a:pPr algn="ctr"/>
            <a:r>
              <a:rPr lang="en-US" sz="5400">
                <a:solidFill>
                  <a:srgbClr val="FFFFFF"/>
                </a:solidFill>
              </a:rPr>
              <a:t>Boa notícia!</a:t>
            </a:r>
          </a:p>
        </p:txBody>
      </p:sp>
      <p:sp>
        <p:nvSpPr>
          <p:cNvPr id="3" name="Espaço Reservado para Conteúdo 2">
            <a:extLst>
              <a:ext uri="{FF2B5EF4-FFF2-40B4-BE49-F238E27FC236}">
                <a16:creationId xmlns:a16="http://schemas.microsoft.com/office/drawing/2014/main" id="{07640291-A13F-4888-BDCE-3623900E122C}"/>
              </a:ext>
            </a:extLst>
          </p:cNvPr>
          <p:cNvSpPr>
            <a:spLocks noGrp="1"/>
          </p:cNvSpPr>
          <p:nvPr>
            <p:ph idx="1"/>
          </p:nvPr>
        </p:nvSpPr>
        <p:spPr>
          <a:xfrm>
            <a:off x="1339362" y="5815698"/>
            <a:ext cx="9144000" cy="420001"/>
          </a:xfrm>
        </p:spPr>
        <p:txBody>
          <a:bodyPr vert="horz" lIns="91440" tIns="45720" rIns="91440" bIns="45720" rtlCol="0">
            <a:normAutofit/>
          </a:bodyPr>
          <a:lstStyle/>
          <a:p>
            <a:pPr marL="0" indent="0" algn="ctr">
              <a:buNone/>
            </a:pPr>
            <a:r>
              <a:rPr lang="en-US" sz="2000">
                <a:solidFill>
                  <a:srgbClr val="EDFE00"/>
                </a:solidFill>
              </a:rPr>
              <a:t>Busca de Indicadores regionais para políticas de TIC na educação</a:t>
            </a:r>
          </a:p>
        </p:txBody>
      </p:sp>
    </p:spTree>
    <p:extLst>
      <p:ext uri="{BB962C8B-B14F-4D97-AF65-F5344CB8AC3E}">
        <p14:creationId xmlns:p14="http://schemas.microsoft.com/office/powerpoint/2010/main" val="23932053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Espaço Reservado para Conteúdo 2">
            <a:extLst>
              <a:ext uri="{FF2B5EF4-FFF2-40B4-BE49-F238E27FC236}">
                <a16:creationId xmlns:a16="http://schemas.microsoft.com/office/drawing/2014/main" id="{EFC9753C-E96A-4207-9432-F447D1DBE6FC}"/>
              </a:ext>
            </a:extLst>
          </p:cNvPr>
          <p:cNvSpPr>
            <a:spLocks noGrp="1"/>
          </p:cNvSpPr>
          <p:nvPr>
            <p:ph idx="1"/>
          </p:nvPr>
        </p:nvSpPr>
        <p:spPr>
          <a:xfrm>
            <a:off x="189187" y="178677"/>
            <a:ext cx="8387172" cy="5550110"/>
          </a:xfrm>
        </p:spPr>
        <p:txBody>
          <a:bodyPr anchor="ctr">
            <a:normAutofit/>
          </a:bodyPr>
          <a:lstStyle/>
          <a:p>
            <a:pPr marL="0" indent="0">
              <a:buNone/>
            </a:pPr>
            <a:r>
              <a:rPr lang="pt-BR" sz="2000" dirty="0"/>
              <a:t>“ a questão relevante não é se governos devem investir em tecnologia educacional mas COMO os governos devem alocar os recursos a fim de agregar valor aos sistemas educacionais por meio da tecnologia. </a:t>
            </a:r>
          </a:p>
          <a:p>
            <a:pPr marL="0" indent="0">
              <a:buNone/>
            </a:pPr>
            <a:r>
              <a:rPr lang="pt-BR" sz="2000" dirty="0"/>
              <a:t>Tecnologia educacional envolve uma ampla gama de tecnologias e metodologias que são moldadas pelo comportamento do usuário e fatores de contexto, que quando integrados adequadamente, contribuem para que professores e alunos atinjam seus objetivos. Uma tarefa tão abrangente e complexa não pode ser atingida por uma intervenção simples e isolada.</a:t>
            </a:r>
          </a:p>
          <a:p>
            <a:pPr marL="0" indent="0">
              <a:buNone/>
            </a:pPr>
            <a:r>
              <a:rPr lang="pt-BR" sz="2000" dirty="0"/>
              <a:t>Políticas públicas abrangentes são necessárias cobrindo tecnologias, metodologias, aspectos econômicos e regulatórios; além disso estas políticas dependem de um forte engajamento de todos os públicos-chave.</a:t>
            </a:r>
          </a:p>
          <a:p>
            <a:r>
              <a:rPr lang="pt-BR" b="1" dirty="0"/>
              <a:t> Este é um processo novo que devemos “aprender pela prática”, sendo assim,  avaliar cuidadosamente os resultados de diferentes intervenções é crucial para garantir o sucesso.”</a:t>
            </a:r>
          </a:p>
        </p:txBody>
      </p:sp>
      <p:pic>
        <p:nvPicPr>
          <p:cNvPr id="5" name="Imagem 4">
            <a:extLst>
              <a:ext uri="{FF2B5EF4-FFF2-40B4-BE49-F238E27FC236}">
                <a16:creationId xmlns:a16="http://schemas.microsoft.com/office/drawing/2014/main" id="{9249C5F4-A136-4981-8A94-31DD50D64B18}"/>
              </a:ext>
            </a:extLst>
          </p:cNvPr>
          <p:cNvPicPr>
            <a:picLocks noChangeAspect="1"/>
          </p:cNvPicPr>
          <p:nvPr/>
        </p:nvPicPr>
        <p:blipFill>
          <a:blip r:embed="rId2"/>
          <a:stretch>
            <a:fillRect/>
          </a:stretch>
        </p:blipFill>
        <p:spPr>
          <a:xfrm>
            <a:off x="703208" y="5954211"/>
            <a:ext cx="9124950" cy="552450"/>
          </a:xfrm>
          <a:prstGeom prst="rect">
            <a:avLst/>
          </a:prstGeom>
        </p:spPr>
      </p:pic>
      <p:pic>
        <p:nvPicPr>
          <p:cNvPr id="6" name="Imagem 5">
            <a:extLst>
              <a:ext uri="{FF2B5EF4-FFF2-40B4-BE49-F238E27FC236}">
                <a16:creationId xmlns:a16="http://schemas.microsoft.com/office/drawing/2014/main" id="{1A63BB41-15F7-4B41-B6C2-B5E04AA0C524}"/>
              </a:ext>
            </a:extLst>
          </p:cNvPr>
          <p:cNvPicPr>
            <a:picLocks noChangeAspect="1"/>
          </p:cNvPicPr>
          <p:nvPr/>
        </p:nvPicPr>
        <p:blipFill>
          <a:blip r:embed="rId3"/>
          <a:stretch>
            <a:fillRect/>
          </a:stretch>
        </p:blipFill>
        <p:spPr>
          <a:xfrm>
            <a:off x="8923579" y="2979348"/>
            <a:ext cx="2216861" cy="1044525"/>
          </a:xfrm>
          <a:prstGeom prst="rect">
            <a:avLst/>
          </a:prstGeom>
        </p:spPr>
      </p:pic>
    </p:spTree>
    <p:extLst>
      <p:ext uri="{BB962C8B-B14F-4D97-AF65-F5344CB8AC3E}">
        <p14:creationId xmlns:p14="http://schemas.microsoft.com/office/powerpoint/2010/main" val="1482392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Imagem 9"/>
          <p:cNvPicPr>
            <a:picLocks noChangeAspect="1"/>
          </p:cNvPicPr>
          <p:nvPr/>
        </p:nvPicPr>
        <p:blipFill rotWithShape="1">
          <a:blip r:embed="rId2">
            <a:biLevel thresh="75000"/>
            <a:alphaModFix amt="11000"/>
          </a:blip>
          <a:srcRect l="-19906" t="-16373" r="23392" b="37631"/>
          <a:stretch/>
        </p:blipFill>
        <p:spPr>
          <a:xfrm>
            <a:off x="7374835" y="1987826"/>
            <a:ext cx="4817165" cy="4870174"/>
          </a:xfrm>
          <a:prstGeom prst="rect">
            <a:avLst/>
          </a:prstGeom>
        </p:spPr>
      </p:pic>
      <p:sp>
        <p:nvSpPr>
          <p:cNvPr id="17" name="Título 1">
            <a:extLst>
              <a:ext uri="{FF2B5EF4-FFF2-40B4-BE49-F238E27FC236}">
                <a16:creationId xmlns:a16="http://schemas.microsoft.com/office/drawing/2014/main" id="{D7940EF1-3E33-4CA4-934A-EE73CCBAE388}"/>
              </a:ext>
            </a:extLst>
          </p:cNvPr>
          <p:cNvSpPr>
            <a:spLocks noGrp="1"/>
          </p:cNvSpPr>
          <p:nvPr>
            <p:ph type="title"/>
          </p:nvPr>
        </p:nvSpPr>
        <p:spPr>
          <a:xfrm>
            <a:off x="235763" y="915944"/>
            <a:ext cx="11158650" cy="701731"/>
          </a:xfrm>
        </p:spPr>
        <p:txBody>
          <a:bodyPr>
            <a:noAutofit/>
          </a:bodyPr>
          <a:lstStyle/>
          <a:p>
            <a:r>
              <a:rPr lang="pt-BR" sz="6600" b="1" dirty="0">
                <a:latin typeface="+mn-lt"/>
              </a:rPr>
              <a:t>Inovar na Educação por meio da tecnologia....</a:t>
            </a:r>
          </a:p>
        </p:txBody>
      </p:sp>
      <p:sp>
        <p:nvSpPr>
          <p:cNvPr id="24" name="CaixaDeTexto 23">
            <a:extLst>
              <a:ext uri="{FF2B5EF4-FFF2-40B4-BE49-F238E27FC236}">
                <a16:creationId xmlns:a16="http://schemas.microsoft.com/office/drawing/2014/main" id="{949D854E-8EE2-425F-A6BE-5F4DAF00B503}"/>
              </a:ext>
            </a:extLst>
          </p:cNvPr>
          <p:cNvSpPr txBox="1"/>
          <p:nvPr/>
        </p:nvSpPr>
        <p:spPr>
          <a:xfrm>
            <a:off x="548776" y="3163697"/>
            <a:ext cx="7501164" cy="144655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4400" b="1" i="0" u="none" strike="noStrike" kern="1200" cap="none" spc="0" normalizeH="0" baseline="0" noProof="0" dirty="0">
                <a:ln>
                  <a:noFill/>
                </a:ln>
                <a:solidFill>
                  <a:srgbClr val="14233D"/>
                </a:solidFill>
                <a:effectLst/>
                <a:uLnTx/>
                <a:uFillTx/>
                <a:latin typeface="Calibri" charset="0"/>
                <a:ea typeface="+mn-ea"/>
                <a:cs typeface="Calibri" charset="0"/>
              </a:rPr>
              <a:t>REQU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4400" b="1" i="0" u="none" strike="noStrike" kern="1200" cap="none" spc="0" normalizeH="0" baseline="0" noProof="0" dirty="0">
                <a:ln>
                  <a:noFill/>
                </a:ln>
                <a:solidFill>
                  <a:srgbClr val="14233D"/>
                </a:solidFill>
                <a:effectLst/>
                <a:uLnTx/>
                <a:uFillTx/>
                <a:latin typeface="Calibri" charset="0"/>
                <a:ea typeface="+mn-ea"/>
                <a:cs typeface="Calibri" charset="0"/>
              </a:rPr>
              <a:t>MUDANÇA SOCIAL SISTÊMICA</a:t>
            </a:r>
            <a:endParaRPr kumimoji="0" lang="en-US" sz="4400" b="1" i="0" u="none" strike="noStrike" kern="1200" cap="none" spc="0" normalizeH="0" baseline="0" noProof="0" dirty="0">
              <a:ln>
                <a:noFill/>
              </a:ln>
              <a:solidFill>
                <a:srgbClr val="14233D"/>
              </a:solidFill>
              <a:effectLst/>
              <a:uLnTx/>
              <a:uFillTx/>
              <a:latin typeface="Calibri" charset="0"/>
              <a:ea typeface="+mn-ea"/>
              <a:cs typeface="Calibri" charset="0"/>
            </a:endParaRPr>
          </a:p>
        </p:txBody>
      </p:sp>
      <p:pic>
        <p:nvPicPr>
          <p:cNvPr id="3" name="Imagem 2">
            <a:extLst>
              <a:ext uri="{FF2B5EF4-FFF2-40B4-BE49-F238E27FC236}">
                <a16:creationId xmlns:a16="http://schemas.microsoft.com/office/drawing/2014/main" id="{ECEE343F-9B91-4D77-BCB9-64DEE1AC9375}"/>
              </a:ext>
            </a:extLst>
          </p:cNvPr>
          <p:cNvPicPr>
            <a:picLocks noChangeAspect="1"/>
          </p:cNvPicPr>
          <p:nvPr/>
        </p:nvPicPr>
        <p:blipFill>
          <a:blip r:embed="rId3">
            <a:duotone>
              <a:prstClr val="black"/>
              <a:schemeClr val="accent5">
                <a:tint val="45000"/>
                <a:satMod val="400000"/>
              </a:schemeClr>
            </a:duotone>
          </a:blip>
          <a:stretch>
            <a:fillRect/>
          </a:stretch>
        </p:blipFill>
        <p:spPr>
          <a:xfrm>
            <a:off x="8563068" y="2382479"/>
            <a:ext cx="2685504" cy="2685504"/>
          </a:xfrm>
          <a:prstGeom prst="rect">
            <a:avLst/>
          </a:prstGeom>
        </p:spPr>
      </p:pic>
      <p:cxnSp>
        <p:nvCxnSpPr>
          <p:cNvPr id="6" name="Conector reto 5">
            <a:extLst>
              <a:ext uri="{FF2B5EF4-FFF2-40B4-BE49-F238E27FC236}">
                <a16:creationId xmlns:a16="http://schemas.microsoft.com/office/drawing/2014/main" id="{4682203F-5F02-4724-8BEC-BC6DB13CD584}"/>
              </a:ext>
            </a:extLst>
          </p:cNvPr>
          <p:cNvCxnSpPr/>
          <p:nvPr/>
        </p:nvCxnSpPr>
        <p:spPr>
          <a:xfrm>
            <a:off x="531327" y="4562121"/>
            <a:ext cx="7217010" cy="0"/>
          </a:xfrm>
          <a:prstGeom prst="line">
            <a:avLst/>
          </a:prstGeom>
          <a:ln w="57150">
            <a:solidFill>
              <a:srgbClr val="E622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901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Imagem 9"/>
          <p:cNvPicPr>
            <a:picLocks noChangeAspect="1"/>
          </p:cNvPicPr>
          <p:nvPr/>
        </p:nvPicPr>
        <p:blipFill rotWithShape="1">
          <a:blip r:embed="rId2">
            <a:biLevel thresh="75000"/>
            <a:alphaModFix amt="11000"/>
          </a:blip>
          <a:srcRect l="-19906" t="-16373" r="23392" b="37631"/>
          <a:stretch/>
        </p:blipFill>
        <p:spPr>
          <a:xfrm>
            <a:off x="7374835" y="2080190"/>
            <a:ext cx="4817165" cy="4870174"/>
          </a:xfrm>
          <a:prstGeom prst="rect">
            <a:avLst/>
          </a:prstGeom>
        </p:spPr>
      </p:pic>
      <p:sp>
        <p:nvSpPr>
          <p:cNvPr id="17" name="Título 1">
            <a:extLst>
              <a:ext uri="{FF2B5EF4-FFF2-40B4-BE49-F238E27FC236}">
                <a16:creationId xmlns:a16="http://schemas.microsoft.com/office/drawing/2014/main" id="{D7940EF1-3E33-4CA4-934A-EE73CCBAE388}"/>
              </a:ext>
            </a:extLst>
          </p:cNvPr>
          <p:cNvSpPr>
            <a:spLocks noGrp="1"/>
          </p:cNvSpPr>
          <p:nvPr>
            <p:ph type="title"/>
          </p:nvPr>
        </p:nvSpPr>
        <p:spPr>
          <a:xfrm>
            <a:off x="531327" y="378854"/>
            <a:ext cx="11158650" cy="701731"/>
          </a:xfrm>
        </p:spPr>
        <p:txBody>
          <a:bodyPr>
            <a:noAutofit/>
          </a:bodyPr>
          <a:lstStyle/>
          <a:p>
            <a:r>
              <a:rPr lang="pt-BR" sz="3600" b="1" dirty="0">
                <a:latin typeface="+mn-lt"/>
              </a:rPr>
              <a:t>Estratégias para promover mudanças sociais sistêmicas</a:t>
            </a:r>
          </a:p>
        </p:txBody>
      </p:sp>
      <p:grpSp>
        <p:nvGrpSpPr>
          <p:cNvPr id="7" name="Agrupar 6">
            <a:extLst>
              <a:ext uri="{FF2B5EF4-FFF2-40B4-BE49-F238E27FC236}">
                <a16:creationId xmlns:a16="http://schemas.microsoft.com/office/drawing/2014/main" id="{807C8607-8B77-4C53-B402-3412A95885A0}"/>
              </a:ext>
            </a:extLst>
          </p:cNvPr>
          <p:cNvGrpSpPr/>
          <p:nvPr/>
        </p:nvGrpSpPr>
        <p:grpSpPr>
          <a:xfrm>
            <a:off x="3904223" y="1568662"/>
            <a:ext cx="5388326" cy="5053302"/>
            <a:chOff x="949197" y="2326601"/>
            <a:chExt cx="4723213" cy="4429543"/>
          </a:xfrm>
        </p:grpSpPr>
        <p:grpSp>
          <p:nvGrpSpPr>
            <p:cNvPr id="13" name="Agrupar 12">
              <a:extLst>
                <a:ext uri="{FF2B5EF4-FFF2-40B4-BE49-F238E27FC236}">
                  <a16:creationId xmlns:a16="http://schemas.microsoft.com/office/drawing/2014/main" id="{63F956B6-09B3-4FF0-ABD2-2AADDC2D5841}"/>
                </a:ext>
              </a:extLst>
            </p:cNvPr>
            <p:cNvGrpSpPr/>
            <p:nvPr/>
          </p:nvGrpSpPr>
          <p:grpSpPr>
            <a:xfrm>
              <a:off x="949197" y="2326601"/>
              <a:ext cx="4723213" cy="4429543"/>
              <a:chOff x="483204" y="2224750"/>
              <a:chExt cx="4723213" cy="4429543"/>
            </a:xfrm>
          </p:grpSpPr>
          <p:sp>
            <p:nvSpPr>
              <p:cNvPr id="19" name="Elipse 18">
                <a:extLst>
                  <a:ext uri="{FF2B5EF4-FFF2-40B4-BE49-F238E27FC236}">
                    <a16:creationId xmlns:a16="http://schemas.microsoft.com/office/drawing/2014/main" id="{3D8FFB1D-75BA-4FB0-B5CB-F00527E520D3}"/>
                  </a:ext>
                </a:extLst>
              </p:cNvPr>
              <p:cNvSpPr/>
              <p:nvPr/>
            </p:nvSpPr>
            <p:spPr>
              <a:xfrm>
                <a:off x="600005" y="2487267"/>
                <a:ext cx="3964059" cy="3964059"/>
              </a:xfrm>
              <a:prstGeom prst="ellipse">
                <a:avLst/>
              </a:prstGeom>
              <a:no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85C440"/>
                  </a:solidFill>
                  <a:effectLst/>
                  <a:uLnTx/>
                  <a:uFillTx/>
                  <a:latin typeface="Calibri"/>
                  <a:ea typeface="+mn-ea"/>
                  <a:cs typeface="+mn-cs"/>
                </a:endParaRPr>
              </a:p>
            </p:txBody>
          </p:sp>
          <p:sp>
            <p:nvSpPr>
              <p:cNvPr id="20" name="Retângulo 19">
                <a:extLst>
                  <a:ext uri="{FF2B5EF4-FFF2-40B4-BE49-F238E27FC236}">
                    <a16:creationId xmlns:a16="http://schemas.microsoft.com/office/drawing/2014/main" id="{016463A6-F468-4022-8341-96D09E7F57A0}"/>
                  </a:ext>
                </a:extLst>
              </p:cNvPr>
              <p:cNvSpPr/>
              <p:nvPr/>
            </p:nvSpPr>
            <p:spPr>
              <a:xfrm>
                <a:off x="659708" y="2542602"/>
                <a:ext cx="3795774" cy="123534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85C440"/>
                  </a:solidFill>
                  <a:effectLst/>
                  <a:uLnTx/>
                  <a:uFillTx/>
                  <a:latin typeface="Calibri"/>
                  <a:ea typeface="+mn-ea"/>
                  <a:cs typeface="+mn-cs"/>
                </a:endParaRPr>
              </a:p>
            </p:txBody>
          </p:sp>
          <p:sp>
            <p:nvSpPr>
              <p:cNvPr id="21" name="Retângulo 20">
                <a:extLst>
                  <a:ext uri="{FF2B5EF4-FFF2-40B4-BE49-F238E27FC236}">
                    <a16:creationId xmlns:a16="http://schemas.microsoft.com/office/drawing/2014/main" id="{82A56459-5E04-4337-B81D-1823F4557825}"/>
                  </a:ext>
                </a:extLst>
              </p:cNvPr>
              <p:cNvSpPr/>
              <p:nvPr/>
            </p:nvSpPr>
            <p:spPr>
              <a:xfrm>
                <a:off x="642664" y="5145127"/>
                <a:ext cx="3795774" cy="11957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85C440"/>
                  </a:solidFill>
                  <a:effectLst/>
                  <a:uLnTx/>
                  <a:uFillTx/>
                  <a:latin typeface="Calibri"/>
                  <a:ea typeface="+mn-ea"/>
                  <a:cs typeface="+mn-cs"/>
                </a:endParaRPr>
              </a:p>
            </p:txBody>
          </p:sp>
          <p:cxnSp>
            <p:nvCxnSpPr>
              <p:cNvPr id="22" name="Conector reto 21">
                <a:extLst>
                  <a:ext uri="{FF2B5EF4-FFF2-40B4-BE49-F238E27FC236}">
                    <a16:creationId xmlns:a16="http://schemas.microsoft.com/office/drawing/2014/main" id="{3393E94C-D9C7-48EB-9281-770D42A63BB5}"/>
                  </a:ext>
                </a:extLst>
              </p:cNvPr>
              <p:cNvCxnSpPr>
                <a:stCxn id="19" idx="0"/>
                <a:endCxn id="19" idx="4"/>
              </p:cNvCxnSpPr>
              <p:nvPr/>
            </p:nvCxnSpPr>
            <p:spPr>
              <a:xfrm>
                <a:off x="2582035" y="2487267"/>
                <a:ext cx="0" cy="3964059"/>
              </a:xfrm>
              <a:prstGeom prst="line">
                <a:avLst/>
              </a:prstGeom>
              <a:ln w="19050">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3" name="Conector reto 22">
                <a:extLst>
                  <a:ext uri="{FF2B5EF4-FFF2-40B4-BE49-F238E27FC236}">
                    <a16:creationId xmlns:a16="http://schemas.microsoft.com/office/drawing/2014/main" id="{5E8D2FA6-F089-4AB7-B742-7DEA99D9DDCE}"/>
                  </a:ext>
                </a:extLst>
              </p:cNvPr>
              <p:cNvCxnSpPr>
                <a:stCxn id="19" idx="6"/>
                <a:endCxn id="19" idx="2"/>
              </p:cNvCxnSpPr>
              <p:nvPr/>
            </p:nvCxnSpPr>
            <p:spPr>
              <a:xfrm flipH="1">
                <a:off x="600005" y="4469297"/>
                <a:ext cx="3964059" cy="0"/>
              </a:xfrm>
              <a:prstGeom prst="line">
                <a:avLst/>
              </a:prstGeom>
              <a:ln w="19050">
                <a:solidFill>
                  <a:srgbClr val="BFBFBF"/>
                </a:solidFill>
              </a:ln>
            </p:spPr>
            <p:style>
              <a:lnRef idx="1">
                <a:schemeClr val="accent1"/>
              </a:lnRef>
              <a:fillRef idx="0">
                <a:schemeClr val="accent1"/>
              </a:fillRef>
              <a:effectRef idx="0">
                <a:schemeClr val="accent1"/>
              </a:effectRef>
              <a:fontRef idx="minor">
                <a:schemeClr val="tx1"/>
              </a:fontRef>
            </p:style>
          </p:cxnSp>
          <p:graphicFrame>
            <p:nvGraphicFramePr>
              <p:cNvPr id="25" name="Gráfico 24">
                <a:extLst>
                  <a:ext uri="{FF2B5EF4-FFF2-40B4-BE49-F238E27FC236}">
                    <a16:creationId xmlns:a16="http://schemas.microsoft.com/office/drawing/2014/main" id="{5F3CF045-A251-4485-BB3C-72632F6B925D}"/>
                  </a:ext>
                </a:extLst>
              </p:cNvPr>
              <p:cNvGraphicFramePr/>
              <p:nvPr>
                <p:extLst/>
              </p:nvPr>
            </p:nvGraphicFramePr>
            <p:xfrm>
              <a:off x="740261" y="2224750"/>
              <a:ext cx="4466156" cy="4429543"/>
            </p:xfrm>
            <a:graphic>
              <a:graphicData uri="http://schemas.openxmlformats.org/drawingml/2006/chart">
                <c:chart xmlns:c="http://schemas.openxmlformats.org/drawingml/2006/chart" xmlns:r="http://schemas.openxmlformats.org/officeDocument/2006/relationships" r:id="rId3"/>
              </a:graphicData>
            </a:graphic>
          </p:graphicFrame>
          <p:sp>
            <p:nvSpPr>
              <p:cNvPr id="26" name="Retângulo 25">
                <a:extLst>
                  <a:ext uri="{FF2B5EF4-FFF2-40B4-BE49-F238E27FC236}">
                    <a16:creationId xmlns:a16="http://schemas.microsoft.com/office/drawing/2014/main" id="{CBC37F51-2F3B-4DC0-A535-8DEB440F62CF}"/>
                  </a:ext>
                </a:extLst>
              </p:cNvPr>
              <p:cNvSpPr/>
              <p:nvPr/>
            </p:nvSpPr>
            <p:spPr>
              <a:xfrm>
                <a:off x="1235653" y="2397732"/>
                <a:ext cx="2720617" cy="1077802"/>
              </a:xfrm>
              <a:prstGeom prst="rect">
                <a:avLst/>
              </a:prstGeom>
              <a:noFill/>
              <a:effectLst/>
            </p:spPr>
            <p:txBody>
              <a:bodyPr wrap="none" lIns="91440" tIns="45720" rIns="91440" bIns="4572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w="0"/>
                    <a:solidFill>
                      <a:srgbClr val="F2F2F2">
                        <a:lumMod val="10000"/>
                      </a:srgbClr>
                    </a:solidFill>
                    <a:effectLst/>
                    <a:uLnTx/>
                    <a:uFillTx/>
                    <a:latin typeface="Arial" panose="020B0604020202020204" pitchFamily="34" charset="0"/>
                    <a:ea typeface="+mn-ea"/>
                    <a:cs typeface="Arial" panose="020B0604020202020204" pitchFamily="34" charset="0"/>
                  </a:rPr>
                  <a:t>CRIAÇÃO</a:t>
                </a:r>
                <a:endParaRPr kumimoji="0" lang="pt-BR" sz="4400" b="1" i="0" u="none" strike="noStrike" kern="1200" cap="none" spc="0" normalizeH="0" baseline="0" noProof="0" dirty="0">
                  <a:ln w="0"/>
                  <a:solidFill>
                    <a:srgbClr val="F2F2F2">
                      <a:lumMod val="10000"/>
                    </a:srgbClr>
                  </a:solidFill>
                  <a:effectLst/>
                  <a:uLnTx/>
                  <a:uFillTx/>
                  <a:latin typeface="Arial" panose="020B0604020202020204" pitchFamily="34" charset="0"/>
                  <a:ea typeface="+mn-ea"/>
                  <a:cs typeface="Arial" panose="020B0604020202020204" pitchFamily="34" charset="0"/>
                </a:endParaRPr>
              </a:p>
            </p:txBody>
          </p:sp>
          <p:sp>
            <p:nvSpPr>
              <p:cNvPr id="27" name="Retângulo 26">
                <a:extLst>
                  <a:ext uri="{FF2B5EF4-FFF2-40B4-BE49-F238E27FC236}">
                    <a16:creationId xmlns:a16="http://schemas.microsoft.com/office/drawing/2014/main" id="{C19FEDB7-4AA8-4CC5-8BF5-1085DC8E5C87}"/>
                  </a:ext>
                </a:extLst>
              </p:cNvPr>
              <p:cNvSpPr/>
              <p:nvPr/>
            </p:nvSpPr>
            <p:spPr>
              <a:xfrm>
                <a:off x="1705382" y="5961376"/>
                <a:ext cx="1835750" cy="671508"/>
              </a:xfrm>
              <a:prstGeom prst="rect">
                <a:avLst/>
              </a:prstGeom>
              <a:noFill/>
              <a:effectLst/>
            </p:spPr>
            <p:txBody>
              <a:bodyPr wrap="none" lIns="91440" tIns="45720" rIns="91440" bIns="45720">
                <a:prstTxWarp prst="textArchDown">
                  <a:avLst>
                    <a:gd name="adj" fmla="val 518257"/>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w="0"/>
                    <a:solidFill>
                      <a:srgbClr val="F2F2F2">
                        <a:lumMod val="10000"/>
                      </a:srgbClr>
                    </a:solidFill>
                    <a:effectLst/>
                    <a:uLnTx/>
                    <a:uFillTx/>
                    <a:latin typeface="Arial" panose="020B0604020202020204" pitchFamily="34" charset="0"/>
                    <a:ea typeface="+mn-ea"/>
                    <a:cs typeface="Arial" panose="020B0604020202020204" pitchFamily="34" charset="0"/>
                  </a:rPr>
                  <a:t>DESTRUIÇÃO</a:t>
                </a:r>
                <a:endParaRPr kumimoji="0" lang="pt-BR" sz="4400" b="1" i="0" u="none" strike="noStrike" kern="1200" cap="none" spc="0" normalizeH="0" baseline="0" noProof="0" dirty="0">
                  <a:ln w="0"/>
                  <a:solidFill>
                    <a:srgbClr val="F2F2F2">
                      <a:lumMod val="10000"/>
                    </a:srgbClr>
                  </a:solidFill>
                  <a:effectLst/>
                  <a:uLnTx/>
                  <a:uFillTx/>
                  <a:latin typeface="Arial" panose="020B0604020202020204" pitchFamily="34" charset="0"/>
                  <a:ea typeface="+mn-ea"/>
                  <a:cs typeface="Arial" panose="020B0604020202020204" pitchFamily="34" charset="0"/>
                </a:endParaRPr>
              </a:p>
            </p:txBody>
          </p:sp>
          <p:sp>
            <p:nvSpPr>
              <p:cNvPr id="28" name="Retângulo 27">
                <a:extLst>
                  <a:ext uri="{FF2B5EF4-FFF2-40B4-BE49-F238E27FC236}">
                    <a16:creationId xmlns:a16="http://schemas.microsoft.com/office/drawing/2014/main" id="{E5B4A707-3091-43D8-8F48-2B952259ED8F}"/>
                  </a:ext>
                </a:extLst>
              </p:cNvPr>
              <p:cNvSpPr/>
              <p:nvPr/>
            </p:nvSpPr>
            <p:spPr>
              <a:xfrm rot="16200000">
                <a:off x="-279663" y="3871855"/>
                <a:ext cx="2720617" cy="1194884"/>
              </a:xfrm>
              <a:prstGeom prst="rect">
                <a:avLst/>
              </a:prstGeom>
              <a:noFill/>
              <a:effectLst/>
            </p:spPr>
            <p:txBody>
              <a:bodyPr wrap="none" lIns="91440" tIns="45720" rIns="91440" bIns="45720">
                <a:prstTxWarp prst="textArchUp">
                  <a:avLst>
                    <a:gd name="adj" fmla="val 10362106"/>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w="0"/>
                    <a:solidFill>
                      <a:srgbClr val="F2F2F2">
                        <a:lumMod val="10000"/>
                      </a:srgbClr>
                    </a:solidFill>
                    <a:effectLst/>
                    <a:uLnTx/>
                    <a:uFillTx/>
                    <a:latin typeface="Arial" panose="020B0604020202020204" pitchFamily="34" charset="0"/>
                    <a:ea typeface="+mn-ea"/>
                    <a:cs typeface="Arial" panose="020B0604020202020204" pitchFamily="34" charset="0"/>
                  </a:rPr>
                  <a:t>CONFRONTO</a:t>
                </a:r>
                <a:endParaRPr kumimoji="0" lang="pt-BR" sz="4400" b="1" i="0" u="none" strike="noStrike" kern="1200" cap="none" spc="0" normalizeH="0" baseline="0" noProof="0" dirty="0">
                  <a:ln w="0"/>
                  <a:solidFill>
                    <a:srgbClr val="F2F2F2">
                      <a:lumMod val="10000"/>
                    </a:srgbClr>
                  </a:solidFill>
                  <a:effectLst/>
                  <a:uLnTx/>
                  <a:uFillTx/>
                  <a:latin typeface="Arial" panose="020B0604020202020204" pitchFamily="34" charset="0"/>
                  <a:ea typeface="+mn-ea"/>
                  <a:cs typeface="Arial" panose="020B0604020202020204" pitchFamily="34" charset="0"/>
                </a:endParaRPr>
              </a:p>
            </p:txBody>
          </p:sp>
          <p:sp>
            <p:nvSpPr>
              <p:cNvPr id="29" name="Retângulo 28">
                <a:extLst>
                  <a:ext uri="{FF2B5EF4-FFF2-40B4-BE49-F238E27FC236}">
                    <a16:creationId xmlns:a16="http://schemas.microsoft.com/office/drawing/2014/main" id="{CC4D2519-BD98-4569-A735-7B98FE8CCC02}"/>
                  </a:ext>
                </a:extLst>
              </p:cNvPr>
              <p:cNvSpPr/>
              <p:nvPr/>
            </p:nvSpPr>
            <p:spPr>
              <a:xfrm rot="5400000">
                <a:off x="2729038" y="3842079"/>
                <a:ext cx="2720617" cy="1194884"/>
              </a:xfrm>
              <a:prstGeom prst="rect">
                <a:avLst/>
              </a:prstGeom>
              <a:noFill/>
              <a:effectLst/>
            </p:spPr>
            <p:txBody>
              <a:bodyPr wrap="none" lIns="91440" tIns="45720" rIns="91440" bIns="45720">
                <a:prstTxWarp prst="textArchUp">
                  <a:avLst>
                    <a:gd name="adj" fmla="val 10362106"/>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1200" cap="none" spc="0" normalizeH="0" baseline="0" noProof="0" dirty="0">
                    <a:ln w="0"/>
                    <a:solidFill>
                      <a:srgbClr val="F2F2F2">
                        <a:lumMod val="10000"/>
                      </a:srgbClr>
                    </a:solidFill>
                    <a:effectLst/>
                    <a:uLnTx/>
                    <a:uFillTx/>
                    <a:latin typeface="Arial" panose="020B0604020202020204" pitchFamily="34" charset="0"/>
                    <a:ea typeface="+mn-ea"/>
                    <a:cs typeface="Arial" panose="020B0604020202020204" pitchFamily="34" charset="0"/>
                  </a:rPr>
                  <a:t>COLABORAÇÃO</a:t>
                </a:r>
                <a:endParaRPr kumimoji="0" lang="pt-BR" sz="4400" b="1" i="0" u="none" strike="noStrike" kern="1200" cap="none" spc="0" normalizeH="0" baseline="0" noProof="0" dirty="0">
                  <a:ln w="0"/>
                  <a:solidFill>
                    <a:srgbClr val="F2F2F2">
                      <a:lumMod val="10000"/>
                    </a:srgbClr>
                  </a:solidFill>
                  <a:effectLst/>
                  <a:uLnTx/>
                  <a:uFillTx/>
                  <a:latin typeface="Arial" panose="020B0604020202020204" pitchFamily="34" charset="0"/>
                  <a:ea typeface="+mn-ea"/>
                  <a:cs typeface="Arial" panose="020B0604020202020204" pitchFamily="34" charset="0"/>
                </a:endParaRPr>
              </a:p>
            </p:txBody>
          </p:sp>
          <p:sp>
            <p:nvSpPr>
              <p:cNvPr id="30" name="Retângulo 29">
                <a:extLst>
                  <a:ext uri="{FF2B5EF4-FFF2-40B4-BE49-F238E27FC236}">
                    <a16:creationId xmlns:a16="http://schemas.microsoft.com/office/drawing/2014/main" id="{FF0AEEA0-125A-435F-AB09-8D7107B80986}"/>
                  </a:ext>
                </a:extLst>
              </p:cNvPr>
              <p:cNvSpPr/>
              <p:nvPr/>
            </p:nvSpPr>
            <p:spPr>
              <a:xfrm>
                <a:off x="4853847" y="4179722"/>
                <a:ext cx="324434" cy="51959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85C440"/>
                  </a:solidFill>
                  <a:effectLst/>
                  <a:uLnTx/>
                  <a:uFillTx/>
                  <a:latin typeface="Calibri"/>
                  <a:ea typeface="+mn-ea"/>
                  <a:cs typeface="+mn-cs"/>
                </a:endParaRPr>
              </a:p>
            </p:txBody>
          </p:sp>
        </p:grpSp>
        <p:sp>
          <p:nvSpPr>
            <p:cNvPr id="14" name="CaixaDeTexto 13">
              <a:extLst>
                <a:ext uri="{FF2B5EF4-FFF2-40B4-BE49-F238E27FC236}">
                  <a16:creationId xmlns:a16="http://schemas.microsoft.com/office/drawing/2014/main" id="{FD7A517C-755F-4263-A856-273D7D60DAA4}"/>
                </a:ext>
              </a:extLst>
            </p:cNvPr>
            <p:cNvSpPr txBox="1"/>
            <p:nvPr/>
          </p:nvSpPr>
          <p:spPr>
            <a:xfrm>
              <a:off x="1722457" y="3790580"/>
              <a:ext cx="1116941"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er a Mudança</a:t>
              </a:r>
            </a:p>
          </p:txBody>
        </p:sp>
        <p:sp>
          <p:nvSpPr>
            <p:cNvPr id="15" name="CaixaDeTexto 14">
              <a:extLst>
                <a:ext uri="{FF2B5EF4-FFF2-40B4-BE49-F238E27FC236}">
                  <a16:creationId xmlns:a16="http://schemas.microsoft.com/office/drawing/2014/main" id="{32AAF4FF-BDBE-48FF-9E7F-03761641FB7B}"/>
                </a:ext>
              </a:extLst>
            </p:cNvPr>
            <p:cNvSpPr txBox="1"/>
            <p:nvPr/>
          </p:nvSpPr>
          <p:spPr>
            <a:xfrm>
              <a:off x="1722457" y="4823271"/>
              <a:ext cx="1116941"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Forçar a Mudança</a:t>
              </a:r>
            </a:p>
          </p:txBody>
        </p:sp>
        <p:sp>
          <p:nvSpPr>
            <p:cNvPr id="16" name="CaixaDeTexto 15">
              <a:extLst>
                <a:ext uri="{FF2B5EF4-FFF2-40B4-BE49-F238E27FC236}">
                  <a16:creationId xmlns:a16="http://schemas.microsoft.com/office/drawing/2014/main" id="{AD689C79-F4B7-46A6-8EED-1582252AB708}"/>
                </a:ext>
              </a:extLst>
            </p:cNvPr>
            <p:cNvSpPr txBox="1"/>
            <p:nvPr/>
          </p:nvSpPr>
          <p:spPr>
            <a:xfrm>
              <a:off x="3301355" y="4823271"/>
              <a:ext cx="111694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irigir a Mudança</a:t>
              </a:r>
            </a:p>
          </p:txBody>
        </p:sp>
        <p:sp>
          <p:nvSpPr>
            <p:cNvPr id="18" name="CaixaDeTexto 17">
              <a:extLst>
                <a:ext uri="{FF2B5EF4-FFF2-40B4-BE49-F238E27FC236}">
                  <a16:creationId xmlns:a16="http://schemas.microsoft.com/office/drawing/2014/main" id="{489558AD-3B5A-4709-9276-17F598B1ECA6}"/>
                </a:ext>
              </a:extLst>
            </p:cNvPr>
            <p:cNvSpPr txBox="1"/>
            <p:nvPr/>
          </p:nvSpPr>
          <p:spPr>
            <a:xfrm>
              <a:off x="3301355" y="3790580"/>
              <a:ext cx="111694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Cocriar</a:t>
              </a:r>
              <a:r>
                <a:rPr kumimoji="0" lang="pt-BR" sz="18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 Mudança</a:t>
              </a:r>
            </a:p>
          </p:txBody>
        </p:sp>
      </p:grpSp>
      <p:sp>
        <p:nvSpPr>
          <p:cNvPr id="32" name="CaixaDeTexto 31">
            <a:extLst>
              <a:ext uri="{FF2B5EF4-FFF2-40B4-BE49-F238E27FC236}">
                <a16:creationId xmlns:a16="http://schemas.microsoft.com/office/drawing/2014/main" id="{E8794AFE-E79F-4570-8CCC-E2DE794F3B1F}"/>
              </a:ext>
            </a:extLst>
          </p:cNvPr>
          <p:cNvSpPr txBox="1"/>
          <p:nvPr/>
        </p:nvSpPr>
        <p:spPr>
          <a:xfrm>
            <a:off x="3008670" y="2412409"/>
            <a:ext cx="187130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D56859"/>
                </a:solidFill>
                <a:effectLst/>
                <a:uLnTx/>
                <a:uFillTx/>
                <a:latin typeface="Calibri" panose="020F0502020204030204"/>
                <a:ea typeface="+mn-ea"/>
                <a:cs typeface="Times New Roman" panose="02020603050405020304" pitchFamily="18" charset="0"/>
              </a:rPr>
              <a:t>PROFESSORES</a:t>
            </a:r>
          </a:p>
        </p:txBody>
      </p:sp>
      <p:sp>
        <p:nvSpPr>
          <p:cNvPr id="33" name="CaixaDeTexto 32">
            <a:extLst>
              <a:ext uri="{FF2B5EF4-FFF2-40B4-BE49-F238E27FC236}">
                <a16:creationId xmlns:a16="http://schemas.microsoft.com/office/drawing/2014/main" id="{C758959B-A8AE-4574-9035-5928E5CD2871}"/>
              </a:ext>
            </a:extLst>
          </p:cNvPr>
          <p:cNvSpPr txBox="1"/>
          <p:nvPr/>
        </p:nvSpPr>
        <p:spPr>
          <a:xfrm>
            <a:off x="3108677" y="4888282"/>
            <a:ext cx="13020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5DA8CE"/>
                </a:solidFill>
                <a:effectLst/>
                <a:uLnTx/>
                <a:uFillTx/>
                <a:latin typeface="Calibri" panose="020F0502020204030204"/>
                <a:ea typeface="+mn-ea"/>
                <a:cs typeface="Times New Roman" panose="02020603050405020304" pitchFamily="18" charset="0"/>
              </a:rPr>
              <a:t>ALUNOS</a:t>
            </a:r>
          </a:p>
        </p:txBody>
      </p:sp>
      <p:sp>
        <p:nvSpPr>
          <p:cNvPr id="34" name="CaixaDeTexto 33">
            <a:extLst>
              <a:ext uri="{FF2B5EF4-FFF2-40B4-BE49-F238E27FC236}">
                <a16:creationId xmlns:a16="http://schemas.microsoft.com/office/drawing/2014/main" id="{8BFADA81-6B49-4887-A1B5-FDEDCCAC495F}"/>
              </a:ext>
            </a:extLst>
          </p:cNvPr>
          <p:cNvSpPr txBox="1"/>
          <p:nvPr/>
        </p:nvSpPr>
        <p:spPr>
          <a:xfrm>
            <a:off x="2936932" y="5344063"/>
            <a:ext cx="197596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5DA8CE"/>
                </a:solidFill>
                <a:effectLst/>
                <a:uLnTx/>
                <a:uFillTx/>
                <a:latin typeface="Calibri" panose="020F0502020204030204"/>
                <a:ea typeface="+mn-ea"/>
                <a:cs typeface="Times New Roman" panose="02020603050405020304" pitchFamily="18" charset="0"/>
              </a:rPr>
              <a:t>PAIS E RESPONSÁVEIS</a:t>
            </a:r>
          </a:p>
        </p:txBody>
      </p:sp>
      <p:sp>
        <p:nvSpPr>
          <p:cNvPr id="35" name="CaixaDeTexto 34">
            <a:extLst>
              <a:ext uri="{FF2B5EF4-FFF2-40B4-BE49-F238E27FC236}">
                <a16:creationId xmlns:a16="http://schemas.microsoft.com/office/drawing/2014/main" id="{F36772F6-9829-40C1-909B-4B4E5DB1356F}"/>
              </a:ext>
            </a:extLst>
          </p:cNvPr>
          <p:cNvSpPr txBox="1"/>
          <p:nvPr/>
        </p:nvSpPr>
        <p:spPr>
          <a:xfrm>
            <a:off x="8331723" y="5142903"/>
            <a:ext cx="1302093"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chemeClr val="accent4">
                    <a:lumMod val="75000"/>
                  </a:schemeClr>
                </a:solidFill>
                <a:effectLst/>
                <a:uLnTx/>
                <a:uFillTx/>
                <a:latin typeface="Calibri" panose="020F0502020204030204"/>
                <a:ea typeface="+mn-ea"/>
                <a:cs typeface="Times New Roman" panose="02020603050405020304" pitchFamily="18" charset="0"/>
              </a:rPr>
              <a:t>GESTOR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chemeClr val="accent4">
                    <a:lumMod val="75000"/>
                  </a:schemeClr>
                </a:solidFill>
                <a:effectLst/>
                <a:uLnTx/>
                <a:uFillTx/>
                <a:latin typeface="Calibri" panose="020F0502020204030204"/>
                <a:ea typeface="+mn-ea"/>
                <a:cs typeface="Times New Roman" panose="02020603050405020304" pitchFamily="18" charset="0"/>
              </a:rPr>
              <a:t>PÚBLICOS</a:t>
            </a:r>
          </a:p>
        </p:txBody>
      </p:sp>
      <p:sp>
        <p:nvSpPr>
          <p:cNvPr id="36" name="CaixaDeTexto 35">
            <a:extLst>
              <a:ext uri="{FF2B5EF4-FFF2-40B4-BE49-F238E27FC236}">
                <a16:creationId xmlns:a16="http://schemas.microsoft.com/office/drawing/2014/main" id="{6BFFD4C2-9456-4486-A70D-DAFC92CEFE01}"/>
              </a:ext>
            </a:extLst>
          </p:cNvPr>
          <p:cNvSpPr txBox="1"/>
          <p:nvPr/>
        </p:nvSpPr>
        <p:spPr>
          <a:xfrm>
            <a:off x="7108119" y="1395239"/>
            <a:ext cx="1302093" cy="646331"/>
          </a:xfrm>
          <a:prstGeom prst="rect">
            <a:avLst/>
          </a:prstGeom>
          <a:noFill/>
        </p:spPr>
        <p:txBody>
          <a:bodyPr wrap="square" rtlCol="0">
            <a:spAutoFit/>
          </a:bodyPr>
          <a:lstStyle>
            <a:defPPr>
              <a:defRPr lang="pt-BR"/>
            </a:defPPr>
            <a:lvl1pPr marR="0" lvl="0" indent="0" algn="r" fontAlgn="auto">
              <a:lnSpc>
                <a:spcPct val="100000"/>
              </a:lnSpc>
              <a:spcBef>
                <a:spcPts val="0"/>
              </a:spcBef>
              <a:spcAft>
                <a:spcPts val="0"/>
              </a:spcAft>
              <a:buClrTx/>
              <a:buSzTx/>
              <a:buFontTx/>
              <a:buNone/>
              <a:tabLst/>
              <a:defRPr b="1">
                <a:solidFill>
                  <a:srgbClr val="7BAC8D"/>
                </a:solidFill>
                <a:cs typeface="Times New Roman" panose="02020603050405020304" pitchFamily="18"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7BAC8D"/>
                </a:solidFill>
                <a:effectLst/>
                <a:uLnTx/>
                <a:uFillTx/>
                <a:latin typeface="Calibri" panose="020F0502020204030204"/>
                <a:ea typeface="+mn-ea"/>
                <a:cs typeface="Times New Roman" panose="02020603050405020304" pitchFamily="18" charset="0"/>
              </a:rPr>
              <a:t>GESTOR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7BAC8D"/>
                </a:solidFill>
                <a:effectLst/>
                <a:uLnTx/>
                <a:uFillTx/>
                <a:latin typeface="Calibri" panose="020F0502020204030204"/>
                <a:ea typeface="+mn-ea"/>
                <a:cs typeface="Times New Roman" panose="02020603050405020304" pitchFamily="18" charset="0"/>
              </a:rPr>
              <a:t>PÚBLICOS</a:t>
            </a:r>
          </a:p>
        </p:txBody>
      </p:sp>
      <p:sp>
        <p:nvSpPr>
          <p:cNvPr id="38" name="CaixaDeTexto 37">
            <a:extLst>
              <a:ext uri="{FF2B5EF4-FFF2-40B4-BE49-F238E27FC236}">
                <a16:creationId xmlns:a16="http://schemas.microsoft.com/office/drawing/2014/main" id="{470FCB6F-A025-4959-AFB1-925A99FA06B8}"/>
              </a:ext>
            </a:extLst>
          </p:cNvPr>
          <p:cNvSpPr txBox="1"/>
          <p:nvPr/>
        </p:nvSpPr>
        <p:spPr>
          <a:xfrm>
            <a:off x="8070155" y="2596793"/>
            <a:ext cx="1975961"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7BAC8D"/>
                </a:solidFill>
                <a:effectLst/>
                <a:uLnTx/>
                <a:uFillTx/>
                <a:latin typeface="Calibri" panose="020F0502020204030204"/>
                <a:ea typeface="+mn-ea"/>
                <a:cs typeface="Times New Roman" panose="02020603050405020304" pitchFamily="18" charset="0"/>
              </a:rPr>
              <a:t>PAIS E RESPONSÁVEIS</a:t>
            </a:r>
          </a:p>
        </p:txBody>
      </p:sp>
      <p:sp>
        <p:nvSpPr>
          <p:cNvPr id="39" name="CaixaDeTexto 38">
            <a:extLst>
              <a:ext uri="{FF2B5EF4-FFF2-40B4-BE49-F238E27FC236}">
                <a16:creationId xmlns:a16="http://schemas.microsoft.com/office/drawing/2014/main" id="{DD2511B8-F04A-45C9-A2D3-F18914F4D1C6}"/>
              </a:ext>
            </a:extLst>
          </p:cNvPr>
          <p:cNvSpPr txBox="1"/>
          <p:nvPr/>
        </p:nvSpPr>
        <p:spPr>
          <a:xfrm>
            <a:off x="8570967" y="3455621"/>
            <a:ext cx="1302093"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7BAC8D"/>
                </a:solidFill>
                <a:effectLst/>
                <a:uLnTx/>
                <a:uFillTx/>
                <a:latin typeface="Calibri" panose="020F0502020204030204"/>
                <a:ea typeface="+mn-ea"/>
                <a:cs typeface="Times New Roman" panose="02020603050405020304" pitchFamily="18" charset="0"/>
              </a:rPr>
              <a:t>ALUNOS</a:t>
            </a:r>
          </a:p>
        </p:txBody>
      </p:sp>
      <p:sp>
        <p:nvSpPr>
          <p:cNvPr id="40" name="CaixaDeTexto 39">
            <a:extLst>
              <a:ext uri="{FF2B5EF4-FFF2-40B4-BE49-F238E27FC236}">
                <a16:creationId xmlns:a16="http://schemas.microsoft.com/office/drawing/2014/main" id="{8B248206-D503-4A45-902F-219C9474A8CE}"/>
              </a:ext>
            </a:extLst>
          </p:cNvPr>
          <p:cNvSpPr txBox="1"/>
          <p:nvPr/>
        </p:nvSpPr>
        <p:spPr>
          <a:xfrm>
            <a:off x="7640792" y="2085404"/>
            <a:ext cx="1871304"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1" i="0" u="none" strike="noStrike" kern="1200" cap="none" spc="0" normalizeH="0" baseline="0" noProof="0" dirty="0">
                <a:ln>
                  <a:noFill/>
                </a:ln>
                <a:solidFill>
                  <a:srgbClr val="7BAC8D"/>
                </a:solidFill>
                <a:effectLst/>
                <a:uLnTx/>
                <a:uFillTx/>
                <a:latin typeface="Calibri" panose="020F0502020204030204"/>
                <a:ea typeface="+mn-ea"/>
                <a:cs typeface="Times New Roman" panose="02020603050405020304" pitchFamily="18" charset="0"/>
              </a:rPr>
              <a:t>PROFESSORES</a:t>
            </a:r>
          </a:p>
        </p:txBody>
      </p:sp>
      <p:sp>
        <p:nvSpPr>
          <p:cNvPr id="5" name="Elipse 4">
            <a:extLst>
              <a:ext uri="{FF2B5EF4-FFF2-40B4-BE49-F238E27FC236}">
                <a16:creationId xmlns:a16="http://schemas.microsoft.com/office/drawing/2014/main" id="{652C373C-4996-41B6-953F-C27E9AD7767A}"/>
              </a:ext>
            </a:extLst>
          </p:cNvPr>
          <p:cNvSpPr/>
          <p:nvPr/>
        </p:nvSpPr>
        <p:spPr>
          <a:xfrm>
            <a:off x="4464159" y="2283540"/>
            <a:ext cx="681164" cy="681164"/>
          </a:xfrm>
          <a:prstGeom prst="ellipse">
            <a:avLst/>
          </a:prstGeom>
          <a:solidFill>
            <a:srgbClr val="D56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Imagem 3">
            <a:extLst>
              <a:ext uri="{FF2B5EF4-FFF2-40B4-BE49-F238E27FC236}">
                <a16:creationId xmlns:a16="http://schemas.microsoft.com/office/drawing/2014/main" id="{647E5D20-1FCD-44C5-B8C1-F55748DD8420}"/>
              </a:ext>
            </a:extLst>
          </p:cNvPr>
          <p:cNvPicPr>
            <a:picLocks noChangeAspect="1"/>
          </p:cNvPicPr>
          <p:nvPr/>
        </p:nvPicPr>
        <p:blipFill>
          <a:blip r:embed="rId4"/>
          <a:stretch>
            <a:fillRect/>
          </a:stretch>
        </p:blipFill>
        <p:spPr>
          <a:xfrm>
            <a:off x="4570859" y="2331508"/>
            <a:ext cx="499134" cy="499134"/>
          </a:xfrm>
          <a:prstGeom prst="rect">
            <a:avLst/>
          </a:prstGeom>
        </p:spPr>
      </p:pic>
      <p:sp>
        <p:nvSpPr>
          <p:cNvPr id="41" name="Elipse 40">
            <a:extLst>
              <a:ext uri="{FF2B5EF4-FFF2-40B4-BE49-F238E27FC236}">
                <a16:creationId xmlns:a16="http://schemas.microsoft.com/office/drawing/2014/main" id="{6E18D571-B9DD-4B24-A3E9-7E77565F65B5}"/>
              </a:ext>
            </a:extLst>
          </p:cNvPr>
          <p:cNvSpPr/>
          <p:nvPr/>
        </p:nvSpPr>
        <p:spPr>
          <a:xfrm>
            <a:off x="4073720" y="4616602"/>
            <a:ext cx="681164" cy="681164"/>
          </a:xfrm>
          <a:prstGeom prst="ellipse">
            <a:avLst/>
          </a:prstGeom>
          <a:solidFill>
            <a:srgbClr val="5DA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Elipse 41">
            <a:extLst>
              <a:ext uri="{FF2B5EF4-FFF2-40B4-BE49-F238E27FC236}">
                <a16:creationId xmlns:a16="http://schemas.microsoft.com/office/drawing/2014/main" id="{382F339B-6656-4B7A-9106-AEA3F4DA06C9}"/>
              </a:ext>
            </a:extLst>
          </p:cNvPr>
          <p:cNvSpPr/>
          <p:nvPr/>
        </p:nvSpPr>
        <p:spPr>
          <a:xfrm>
            <a:off x="4364572" y="5238312"/>
            <a:ext cx="681164" cy="681164"/>
          </a:xfrm>
          <a:prstGeom prst="ellipse">
            <a:avLst/>
          </a:prstGeom>
          <a:solidFill>
            <a:srgbClr val="5DA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3" name="Imagem 42">
            <a:extLst>
              <a:ext uri="{FF2B5EF4-FFF2-40B4-BE49-F238E27FC236}">
                <a16:creationId xmlns:a16="http://schemas.microsoft.com/office/drawing/2014/main" id="{6747B015-5A04-4506-9042-C65A05376000}"/>
              </a:ext>
            </a:extLst>
          </p:cNvPr>
          <p:cNvPicPr>
            <a:picLocks noChangeAspect="1"/>
          </p:cNvPicPr>
          <p:nvPr/>
        </p:nvPicPr>
        <p:blipFill>
          <a:blip r:embed="rId5"/>
          <a:stretch>
            <a:fillRect/>
          </a:stretch>
        </p:blipFill>
        <p:spPr>
          <a:xfrm>
            <a:off x="4119058" y="4751635"/>
            <a:ext cx="548310" cy="548310"/>
          </a:xfrm>
          <a:prstGeom prst="rect">
            <a:avLst/>
          </a:prstGeom>
        </p:spPr>
      </p:pic>
      <p:sp>
        <p:nvSpPr>
          <p:cNvPr id="46" name="Elipse 45">
            <a:extLst>
              <a:ext uri="{FF2B5EF4-FFF2-40B4-BE49-F238E27FC236}">
                <a16:creationId xmlns:a16="http://schemas.microsoft.com/office/drawing/2014/main" id="{12FC846D-48F2-4E4E-8CDB-73FA1A226400}"/>
              </a:ext>
            </a:extLst>
          </p:cNvPr>
          <p:cNvSpPr/>
          <p:nvPr/>
        </p:nvSpPr>
        <p:spPr>
          <a:xfrm>
            <a:off x="7659690" y="5101298"/>
            <a:ext cx="681164" cy="681164"/>
          </a:xfrm>
          <a:prstGeom prst="ellipse">
            <a:avLst/>
          </a:prstGeom>
          <a:solidFill>
            <a:srgbClr val="E2D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5" name="Imagem 44">
            <a:extLst>
              <a:ext uri="{FF2B5EF4-FFF2-40B4-BE49-F238E27FC236}">
                <a16:creationId xmlns:a16="http://schemas.microsoft.com/office/drawing/2014/main" id="{F4BFCB72-8ABD-43E9-BA40-7D1EFA30111A}"/>
              </a:ext>
            </a:extLst>
          </p:cNvPr>
          <p:cNvPicPr>
            <a:picLocks noChangeAspect="1"/>
          </p:cNvPicPr>
          <p:nvPr/>
        </p:nvPicPr>
        <p:blipFill>
          <a:blip r:embed="rId6"/>
          <a:stretch>
            <a:fillRect/>
          </a:stretch>
        </p:blipFill>
        <p:spPr>
          <a:xfrm>
            <a:off x="7752542" y="5164025"/>
            <a:ext cx="503204" cy="503204"/>
          </a:xfrm>
          <a:prstGeom prst="rect">
            <a:avLst/>
          </a:prstGeom>
        </p:spPr>
      </p:pic>
      <p:pic>
        <p:nvPicPr>
          <p:cNvPr id="48" name="Imagem 47">
            <a:extLst>
              <a:ext uri="{FF2B5EF4-FFF2-40B4-BE49-F238E27FC236}">
                <a16:creationId xmlns:a16="http://schemas.microsoft.com/office/drawing/2014/main" id="{CFDCA08D-7356-4871-992F-0184CC5B5593}"/>
              </a:ext>
            </a:extLst>
          </p:cNvPr>
          <p:cNvPicPr>
            <a:picLocks noChangeAspect="1"/>
          </p:cNvPicPr>
          <p:nvPr/>
        </p:nvPicPr>
        <p:blipFill>
          <a:blip r:embed="rId7"/>
          <a:stretch>
            <a:fillRect/>
          </a:stretch>
        </p:blipFill>
        <p:spPr>
          <a:xfrm>
            <a:off x="4344692" y="5363845"/>
            <a:ext cx="430612" cy="430612"/>
          </a:xfrm>
          <a:prstGeom prst="rect">
            <a:avLst/>
          </a:prstGeom>
        </p:spPr>
      </p:pic>
      <p:pic>
        <p:nvPicPr>
          <p:cNvPr id="50" name="Imagem 49">
            <a:extLst>
              <a:ext uri="{FF2B5EF4-FFF2-40B4-BE49-F238E27FC236}">
                <a16:creationId xmlns:a16="http://schemas.microsoft.com/office/drawing/2014/main" id="{FE6388F6-5E44-4838-814D-84F5F9094595}"/>
              </a:ext>
            </a:extLst>
          </p:cNvPr>
          <p:cNvPicPr>
            <a:picLocks noChangeAspect="1"/>
          </p:cNvPicPr>
          <p:nvPr/>
        </p:nvPicPr>
        <p:blipFill>
          <a:blip r:embed="rId8"/>
          <a:stretch>
            <a:fillRect/>
          </a:stretch>
        </p:blipFill>
        <p:spPr>
          <a:xfrm>
            <a:off x="4570859" y="5323681"/>
            <a:ext cx="430612" cy="430612"/>
          </a:xfrm>
          <a:prstGeom prst="rect">
            <a:avLst/>
          </a:prstGeom>
        </p:spPr>
      </p:pic>
      <p:sp>
        <p:nvSpPr>
          <p:cNvPr id="51" name="Elipse 50">
            <a:extLst>
              <a:ext uri="{FF2B5EF4-FFF2-40B4-BE49-F238E27FC236}">
                <a16:creationId xmlns:a16="http://schemas.microsoft.com/office/drawing/2014/main" id="{3D932C94-BD79-4D3D-8788-C2D9A9BF8617}"/>
              </a:ext>
            </a:extLst>
          </p:cNvPr>
          <p:cNvSpPr/>
          <p:nvPr/>
        </p:nvSpPr>
        <p:spPr>
          <a:xfrm>
            <a:off x="7774195" y="2777905"/>
            <a:ext cx="681164" cy="681164"/>
          </a:xfrm>
          <a:prstGeom prst="ellipse">
            <a:avLst/>
          </a:prstGeom>
          <a:solidFill>
            <a:srgbClr val="7BA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Elipse 52">
            <a:extLst>
              <a:ext uri="{FF2B5EF4-FFF2-40B4-BE49-F238E27FC236}">
                <a16:creationId xmlns:a16="http://schemas.microsoft.com/office/drawing/2014/main" id="{F3DF9270-3444-42A3-BC0D-EDFAB4A7E3DC}"/>
              </a:ext>
            </a:extLst>
          </p:cNvPr>
          <p:cNvSpPr/>
          <p:nvPr/>
        </p:nvSpPr>
        <p:spPr>
          <a:xfrm>
            <a:off x="7915164" y="3331836"/>
            <a:ext cx="681164" cy="681164"/>
          </a:xfrm>
          <a:prstGeom prst="ellipse">
            <a:avLst/>
          </a:prstGeom>
          <a:solidFill>
            <a:srgbClr val="7BA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4" name="Imagem 53">
            <a:extLst>
              <a:ext uri="{FF2B5EF4-FFF2-40B4-BE49-F238E27FC236}">
                <a16:creationId xmlns:a16="http://schemas.microsoft.com/office/drawing/2014/main" id="{D93E5DEE-CFFC-4449-8DE4-42A23969BFF4}"/>
              </a:ext>
            </a:extLst>
          </p:cNvPr>
          <p:cNvPicPr>
            <a:picLocks noChangeAspect="1"/>
          </p:cNvPicPr>
          <p:nvPr/>
        </p:nvPicPr>
        <p:blipFill>
          <a:blip r:embed="rId5"/>
          <a:stretch>
            <a:fillRect/>
          </a:stretch>
        </p:blipFill>
        <p:spPr>
          <a:xfrm>
            <a:off x="8020413" y="3455621"/>
            <a:ext cx="415455" cy="415455"/>
          </a:xfrm>
          <a:prstGeom prst="rect">
            <a:avLst/>
          </a:prstGeom>
        </p:spPr>
      </p:pic>
      <p:sp>
        <p:nvSpPr>
          <p:cNvPr id="55" name="Elipse 54">
            <a:extLst>
              <a:ext uri="{FF2B5EF4-FFF2-40B4-BE49-F238E27FC236}">
                <a16:creationId xmlns:a16="http://schemas.microsoft.com/office/drawing/2014/main" id="{CF6F9923-27ED-4BC9-BB2A-6851A7D78C2E}"/>
              </a:ext>
            </a:extLst>
          </p:cNvPr>
          <p:cNvSpPr/>
          <p:nvPr/>
        </p:nvSpPr>
        <p:spPr>
          <a:xfrm>
            <a:off x="7363610" y="2160063"/>
            <a:ext cx="681164" cy="681164"/>
          </a:xfrm>
          <a:prstGeom prst="ellipse">
            <a:avLst/>
          </a:prstGeom>
          <a:solidFill>
            <a:srgbClr val="7BA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6" name="Imagem 55">
            <a:extLst>
              <a:ext uri="{FF2B5EF4-FFF2-40B4-BE49-F238E27FC236}">
                <a16:creationId xmlns:a16="http://schemas.microsoft.com/office/drawing/2014/main" id="{C9C3E67C-0593-48BD-95B8-EDAF7A3F9D6C}"/>
              </a:ext>
            </a:extLst>
          </p:cNvPr>
          <p:cNvPicPr>
            <a:picLocks noChangeAspect="1"/>
          </p:cNvPicPr>
          <p:nvPr/>
        </p:nvPicPr>
        <p:blipFill>
          <a:blip r:embed="rId7"/>
          <a:stretch>
            <a:fillRect/>
          </a:stretch>
        </p:blipFill>
        <p:spPr>
          <a:xfrm>
            <a:off x="8020413" y="2831042"/>
            <a:ext cx="430612" cy="430612"/>
          </a:xfrm>
          <a:prstGeom prst="rect">
            <a:avLst/>
          </a:prstGeom>
        </p:spPr>
      </p:pic>
      <p:pic>
        <p:nvPicPr>
          <p:cNvPr id="57" name="Imagem 56">
            <a:extLst>
              <a:ext uri="{FF2B5EF4-FFF2-40B4-BE49-F238E27FC236}">
                <a16:creationId xmlns:a16="http://schemas.microsoft.com/office/drawing/2014/main" id="{D8A604C2-8A16-4C68-8EAB-BD6DDB4B6ADA}"/>
              </a:ext>
            </a:extLst>
          </p:cNvPr>
          <p:cNvPicPr>
            <a:picLocks noChangeAspect="1"/>
          </p:cNvPicPr>
          <p:nvPr/>
        </p:nvPicPr>
        <p:blipFill>
          <a:blip r:embed="rId8"/>
          <a:stretch>
            <a:fillRect/>
          </a:stretch>
        </p:blipFill>
        <p:spPr>
          <a:xfrm>
            <a:off x="7829468" y="2806187"/>
            <a:ext cx="430612" cy="430612"/>
          </a:xfrm>
          <a:prstGeom prst="rect">
            <a:avLst/>
          </a:prstGeom>
        </p:spPr>
      </p:pic>
      <p:sp>
        <p:nvSpPr>
          <p:cNvPr id="58" name="Elipse 57">
            <a:extLst>
              <a:ext uri="{FF2B5EF4-FFF2-40B4-BE49-F238E27FC236}">
                <a16:creationId xmlns:a16="http://schemas.microsoft.com/office/drawing/2014/main" id="{03E2569F-764F-4B33-8F0C-A572372B56DF}"/>
              </a:ext>
            </a:extLst>
          </p:cNvPr>
          <p:cNvSpPr/>
          <p:nvPr/>
        </p:nvSpPr>
        <p:spPr>
          <a:xfrm>
            <a:off x="6800578" y="1822697"/>
            <a:ext cx="681164" cy="681164"/>
          </a:xfrm>
          <a:prstGeom prst="ellipse">
            <a:avLst/>
          </a:prstGeom>
          <a:solidFill>
            <a:srgbClr val="7BAC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9" name="Imagem 58">
            <a:extLst>
              <a:ext uri="{FF2B5EF4-FFF2-40B4-BE49-F238E27FC236}">
                <a16:creationId xmlns:a16="http://schemas.microsoft.com/office/drawing/2014/main" id="{A90E9C10-36CF-4B4F-BA09-9CF25922E431}"/>
              </a:ext>
            </a:extLst>
          </p:cNvPr>
          <p:cNvPicPr>
            <a:picLocks noChangeAspect="1"/>
          </p:cNvPicPr>
          <p:nvPr/>
        </p:nvPicPr>
        <p:blipFill>
          <a:blip r:embed="rId6"/>
          <a:stretch>
            <a:fillRect/>
          </a:stretch>
        </p:blipFill>
        <p:spPr>
          <a:xfrm>
            <a:off x="6889558" y="1830662"/>
            <a:ext cx="503204" cy="503204"/>
          </a:xfrm>
          <a:prstGeom prst="rect">
            <a:avLst/>
          </a:prstGeom>
        </p:spPr>
      </p:pic>
      <p:pic>
        <p:nvPicPr>
          <p:cNvPr id="52" name="Imagem 51">
            <a:extLst>
              <a:ext uri="{FF2B5EF4-FFF2-40B4-BE49-F238E27FC236}">
                <a16:creationId xmlns:a16="http://schemas.microsoft.com/office/drawing/2014/main" id="{8883CEF5-9BC4-473E-B16B-B464349E2D74}"/>
              </a:ext>
            </a:extLst>
          </p:cNvPr>
          <p:cNvPicPr>
            <a:picLocks noChangeAspect="1"/>
          </p:cNvPicPr>
          <p:nvPr/>
        </p:nvPicPr>
        <p:blipFill>
          <a:blip r:embed="rId4"/>
          <a:stretch>
            <a:fillRect/>
          </a:stretch>
        </p:blipFill>
        <p:spPr>
          <a:xfrm>
            <a:off x="7372043" y="2234041"/>
            <a:ext cx="499134" cy="499134"/>
          </a:xfrm>
          <a:prstGeom prst="rect">
            <a:avLst/>
          </a:prstGeom>
        </p:spPr>
      </p:pic>
      <p:sp>
        <p:nvSpPr>
          <p:cNvPr id="60" name="CaixaDeTexto 2">
            <a:extLst>
              <a:ext uri="{FF2B5EF4-FFF2-40B4-BE49-F238E27FC236}">
                <a16:creationId xmlns:a16="http://schemas.microsoft.com/office/drawing/2014/main" id="{ECC271F0-C18E-463B-9FD3-AA0BC0134A2E}"/>
              </a:ext>
            </a:extLst>
          </p:cNvPr>
          <p:cNvSpPr txBox="1"/>
          <p:nvPr/>
        </p:nvSpPr>
        <p:spPr>
          <a:xfrm flipH="1">
            <a:off x="249382" y="6293320"/>
            <a:ext cx="12434822" cy="50270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30000" noProof="0" dirty="0">
                <a:ln>
                  <a:noFill/>
                </a:ln>
                <a:solidFill>
                  <a:srgbClr val="F2F2F2">
                    <a:lumMod val="10000"/>
                  </a:srgbClr>
                </a:solidFill>
                <a:effectLst/>
                <a:uLnTx/>
                <a:uFillTx/>
                <a:latin typeface="Calibri" panose="020F0502020204030204"/>
                <a:ea typeface="+mn-ea"/>
                <a:cs typeface="Times New Roman" panose="02020603050405020304" pitchFamily="18" charset="0"/>
              </a:rPr>
              <a:t>Steve </a:t>
            </a:r>
            <a:r>
              <a:rPr kumimoji="0" lang="pt-BR" sz="2000" b="1" i="0" u="none" strike="noStrike" kern="1200" cap="none" spc="0" normalizeH="0" baseline="30000" noProof="0" dirty="0" err="1">
                <a:ln>
                  <a:noFill/>
                </a:ln>
                <a:solidFill>
                  <a:srgbClr val="F2F2F2">
                    <a:lumMod val="10000"/>
                  </a:srgbClr>
                </a:solidFill>
                <a:effectLst/>
                <a:uLnTx/>
                <a:uFillTx/>
                <a:latin typeface="Calibri" panose="020F0502020204030204"/>
                <a:ea typeface="+mn-ea"/>
                <a:cs typeface="Times New Roman" panose="02020603050405020304" pitchFamily="18" charset="0"/>
              </a:rPr>
              <a:t>Waddel</a:t>
            </a:r>
            <a:r>
              <a:rPr kumimoji="0" lang="pt-BR" sz="2000" b="1" i="0" u="none" strike="noStrike" kern="1200" cap="none" spc="0" normalizeH="0" baseline="30000" noProof="0" dirty="0">
                <a:ln>
                  <a:noFill/>
                </a:ln>
                <a:solidFill>
                  <a:srgbClr val="F2F2F2">
                    <a:lumMod val="10000"/>
                  </a:srgbClr>
                </a:solidFill>
                <a:effectLst/>
                <a:uLnTx/>
                <a:uFillTx/>
                <a:latin typeface="Calibri" panose="020F0502020204030204"/>
                <a:ea typeface="+mn-ea"/>
                <a:cs typeface="Times New Roman" panose="02020603050405020304" pitchFamily="18" charset="0"/>
              </a:rPr>
              <a:t>,“</a:t>
            </a:r>
            <a:r>
              <a:rPr kumimoji="0" lang="en-US" sz="2000" b="0" i="1" u="none" strike="noStrike" kern="1200" cap="none" spc="0" normalizeH="0" baseline="30000" noProof="0" dirty="0">
                <a:ln>
                  <a:noFill/>
                </a:ln>
                <a:solidFill>
                  <a:srgbClr val="F2F2F2">
                    <a:lumMod val="10000"/>
                  </a:srgbClr>
                </a:solidFill>
                <a:effectLst/>
                <a:uLnTx/>
                <a:uFillTx/>
                <a:latin typeface="Calibri" panose="020F0502020204030204"/>
                <a:ea typeface="+mn-ea"/>
                <a:cs typeface="Times New Roman" panose="02020603050405020304" pitchFamily="18" charset="0"/>
              </a:rPr>
              <a:t>Four Strategies for Large Systems Change</a:t>
            </a:r>
            <a:r>
              <a:rPr kumimoji="0" lang="pt-BR" sz="2000" b="1" i="0" u="none" strike="noStrike" kern="1200" cap="none" spc="0" normalizeH="0" baseline="30000" noProof="0" dirty="0">
                <a:ln>
                  <a:noFill/>
                </a:ln>
                <a:solidFill>
                  <a:srgbClr val="F2F2F2">
                    <a:lumMod val="10000"/>
                  </a:srgbClr>
                </a:solidFill>
                <a:effectLst/>
                <a:uLnTx/>
                <a:uFillTx/>
                <a:latin typeface="Calibri" panose="020F0502020204030204"/>
                <a:ea typeface="+mn-ea"/>
                <a:cs typeface="Times New Roman" panose="02020603050405020304" pitchFamily="18"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2000" b="1" i="0" u="none" strike="noStrike" kern="1200" cap="none" spc="0" normalizeH="0" baseline="30000" noProof="0" dirty="0">
                <a:ln>
                  <a:noFill/>
                </a:ln>
                <a:solidFill>
                  <a:srgbClr val="F2F2F2">
                    <a:lumMod val="10000"/>
                  </a:srgbClr>
                </a:solidFill>
                <a:effectLst/>
                <a:uLnTx/>
                <a:uFillTx/>
                <a:latin typeface="Times New Roman" panose="02020603050405020304" pitchFamily="18" charset="0"/>
                <a:ea typeface="+mn-ea"/>
                <a:cs typeface="Times New Roman" panose="02020603050405020304" pitchFamily="18" charset="0"/>
              </a:rPr>
              <a:t>Stanford Social </a:t>
            </a:r>
            <a:r>
              <a:rPr kumimoji="0" lang="pt-BR" sz="2000" b="1" i="0" u="none" strike="noStrike" kern="1200" cap="none" spc="0" normalizeH="0" baseline="30000" noProof="0" dirty="0" err="1">
                <a:ln>
                  <a:noFill/>
                </a:ln>
                <a:solidFill>
                  <a:srgbClr val="F2F2F2">
                    <a:lumMod val="10000"/>
                  </a:srgbClr>
                </a:solidFill>
                <a:effectLst/>
                <a:uLnTx/>
                <a:uFillTx/>
                <a:latin typeface="Times New Roman" panose="02020603050405020304" pitchFamily="18" charset="0"/>
                <a:ea typeface="+mn-ea"/>
                <a:cs typeface="Times New Roman" panose="02020603050405020304" pitchFamily="18" charset="0"/>
              </a:rPr>
              <a:t>Innovation</a:t>
            </a:r>
            <a:r>
              <a:rPr kumimoji="0" lang="pt-BR" sz="2000" b="1" i="0" u="none" strike="noStrike" kern="1200" cap="none" spc="0" normalizeH="0" baseline="30000" noProof="0" dirty="0">
                <a:ln>
                  <a:noFill/>
                </a:ln>
                <a:solidFill>
                  <a:srgbClr val="F2F2F2">
                    <a:lumMod val="10000"/>
                  </a:srgbClr>
                </a:solidFill>
                <a:effectLst/>
                <a:uLnTx/>
                <a:uFillTx/>
                <a:latin typeface="Times New Roman" panose="02020603050405020304" pitchFamily="18" charset="0"/>
                <a:ea typeface="+mn-ea"/>
                <a:cs typeface="Times New Roman" panose="02020603050405020304" pitchFamily="18" charset="0"/>
              </a:rPr>
              <a:t> Review. Spring 2018</a:t>
            </a:r>
          </a:p>
        </p:txBody>
      </p:sp>
      <p:sp>
        <p:nvSpPr>
          <p:cNvPr id="2" name="Elipse 1">
            <a:extLst>
              <a:ext uri="{FF2B5EF4-FFF2-40B4-BE49-F238E27FC236}">
                <a16:creationId xmlns:a16="http://schemas.microsoft.com/office/drawing/2014/main" id="{4846249B-A942-4F56-B391-D4FFB5AD8356}"/>
              </a:ext>
            </a:extLst>
          </p:cNvPr>
          <p:cNvSpPr/>
          <p:nvPr/>
        </p:nvSpPr>
        <p:spPr>
          <a:xfrm>
            <a:off x="6060598" y="4141280"/>
            <a:ext cx="4356585" cy="225435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449275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6952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Espaço Reservado para Conteúdo 3">
            <a:extLst>
              <a:ext uri="{FF2B5EF4-FFF2-40B4-BE49-F238E27FC236}">
                <a16:creationId xmlns:a16="http://schemas.microsoft.com/office/drawing/2014/main" id="{6E57CB3D-908F-4DDF-A64C-BFE5C4D7F67A}"/>
              </a:ext>
            </a:extLst>
          </p:cNvPr>
          <p:cNvPicPr>
            <a:picLocks noGrp="1" noChangeAspect="1"/>
          </p:cNvPicPr>
          <p:nvPr>
            <p:ph idx="1"/>
          </p:nvPr>
        </p:nvPicPr>
        <p:blipFill>
          <a:blip r:embed="rId2"/>
          <a:stretch>
            <a:fillRect/>
          </a:stretch>
        </p:blipFill>
        <p:spPr>
          <a:xfrm>
            <a:off x="864809" y="1675227"/>
            <a:ext cx="10462381" cy="4394199"/>
          </a:xfrm>
          <a:prstGeom prst="rect">
            <a:avLst/>
          </a:prstGeom>
        </p:spPr>
      </p:pic>
      <p:sp>
        <p:nvSpPr>
          <p:cNvPr id="2" name="Título 1">
            <a:extLst>
              <a:ext uri="{FF2B5EF4-FFF2-40B4-BE49-F238E27FC236}">
                <a16:creationId xmlns:a16="http://schemas.microsoft.com/office/drawing/2014/main" id="{650366C9-361E-4FAF-9334-57B0C52BF0B2}"/>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endParaRPr lang="en-US" sz="3200" kern="1200">
              <a:solidFill>
                <a:schemeClr val="bg1"/>
              </a:solidFill>
              <a:latin typeface="+mj-lt"/>
              <a:ea typeface="+mj-ea"/>
              <a:cs typeface="+mj-cs"/>
            </a:endParaRPr>
          </a:p>
        </p:txBody>
      </p:sp>
    </p:spTree>
    <p:extLst>
      <p:ext uri="{BB962C8B-B14F-4D97-AF65-F5344CB8AC3E}">
        <p14:creationId xmlns:p14="http://schemas.microsoft.com/office/powerpoint/2010/main" val="32034146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9AE0E8B-BDC5-4504-A29B-5CE6F617100B}"/>
              </a:ext>
            </a:extLst>
          </p:cNvPr>
          <p:cNvSpPr>
            <a:spLocks noGrp="1"/>
          </p:cNvSpPr>
          <p:nvPr>
            <p:ph type="ctrTitle"/>
          </p:nvPr>
        </p:nvSpPr>
        <p:spPr/>
        <p:txBody>
          <a:bodyPr>
            <a:noAutofit/>
          </a:bodyPr>
          <a:lstStyle/>
          <a:p>
            <a:r>
              <a:rPr lang="en-US" sz="1400" dirty="0"/>
              <a:t>ICT policy in the context of transformational change in education: reform in which all the components of the educational system, not just ICT, that are aligned with social and economic development goals. This approach envisions an education system in which students engage in the sustained, collaborative process of building on current knowledge and cultural artifacts to create and share new contributions. Students develop the ability to use a range of technology tools; to search for, organize, and </a:t>
            </a:r>
            <a:r>
              <a:rPr lang="en-US" sz="1400" dirty="0" err="1"/>
              <a:t>analyse</a:t>
            </a:r>
            <a:r>
              <a:rPr lang="en-US" sz="1400" dirty="0"/>
              <a:t> information; to communicate effectively in a variety of forms; to collaborate with others of diverse skills and backgrounds; to think critically, innovatively, and creatively; and to continue their learning throughout their lifetimes. Teachers collaborate with students and model the learning process. They are continuously engaged in educational experimentation and innovation in collaboration with an extended network of colleagues. Head teachers work with their staff to continuously monitor their progress, review the school’s goals and vision, and adjust to new circumstances. And schools are transformed into learning organizations in which all actors are involved in the learning process. Within these schools, teachers and students use a variety of electronic devices, digital resources, and social and knowledge network environments to design ICT-based learning resources and tools that support the development of knowledge creation and critical thinking skills; support continuous, </a:t>
            </a:r>
            <a:r>
              <a:rPr lang="en-US" sz="1400" dirty="0" err="1"/>
              <a:t>refl</a:t>
            </a:r>
            <a:r>
              <a:rPr lang="en-US" sz="1400" dirty="0"/>
              <a:t> </a:t>
            </a:r>
            <a:r>
              <a:rPr lang="en-US" sz="1400" dirty="0" err="1"/>
              <a:t>ective</a:t>
            </a:r>
            <a:r>
              <a:rPr lang="en-US" sz="1400" dirty="0"/>
              <a:t> learning processes; and support interaction with knowledge communities that extend beyond the </a:t>
            </a:r>
            <a:r>
              <a:rPr lang="en-US" sz="1400" dirty="0" err="1"/>
              <a:t>confi</a:t>
            </a:r>
            <a:r>
              <a:rPr lang="en-US" sz="1400" dirty="0"/>
              <a:t> </a:t>
            </a:r>
            <a:r>
              <a:rPr lang="en-US" sz="1400" dirty="0" err="1"/>
              <a:t>nes</a:t>
            </a:r>
            <a:r>
              <a:rPr lang="en-US" sz="1400" dirty="0"/>
              <a:t> of time and place. For many policy-makers, it will be a major accomplishment to introduce ICT innovations that </a:t>
            </a:r>
            <a:endParaRPr lang="pt-BR" sz="1400" dirty="0"/>
          </a:p>
        </p:txBody>
      </p:sp>
      <p:sp>
        <p:nvSpPr>
          <p:cNvPr id="3" name="Subtítulo 2">
            <a:extLst>
              <a:ext uri="{FF2B5EF4-FFF2-40B4-BE49-F238E27FC236}">
                <a16:creationId xmlns:a16="http://schemas.microsoft.com/office/drawing/2014/main" id="{B1936D04-64E9-47E3-B938-C6FAC04CFB52}"/>
              </a:ext>
            </a:extLst>
          </p:cNvPr>
          <p:cNvSpPr>
            <a:spLocks noGrp="1"/>
          </p:cNvSpPr>
          <p:nvPr>
            <p:ph type="subTitle" idx="1"/>
          </p:nvPr>
        </p:nvSpPr>
        <p:spPr/>
        <p:txBody>
          <a:bodyPr/>
          <a:lstStyle/>
          <a:p>
            <a:endParaRPr lang="pt-BR" dirty="0"/>
          </a:p>
        </p:txBody>
      </p:sp>
    </p:spTree>
    <p:extLst>
      <p:ext uri="{BB962C8B-B14F-4D97-AF65-F5344CB8AC3E}">
        <p14:creationId xmlns:p14="http://schemas.microsoft.com/office/powerpoint/2010/main" val="3935258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a:picLocks noChangeAspect="1"/>
          </p:cNvPicPr>
          <p:nvPr/>
        </p:nvPicPr>
        <p:blipFill rotWithShape="1">
          <a:blip r:embed="rId3" cstate="print">
            <a:extLst>
              <a:ext uri="{28A0092B-C50C-407E-A947-70E740481C1C}">
                <a14:useLocalDpi xmlns:a14="http://schemas.microsoft.com/office/drawing/2010/main" val="0"/>
              </a:ext>
            </a:extLst>
          </a:blip>
          <a:srcRect l="517" t="11363" r="4137" b="9393"/>
          <a:stretch/>
        </p:blipFill>
        <p:spPr>
          <a:xfrm flipH="1">
            <a:off x="0" y="0"/>
            <a:ext cx="12377058" cy="6858000"/>
          </a:xfrm>
          <a:prstGeom prst="rect">
            <a:avLst/>
          </a:prstGeom>
        </p:spPr>
      </p:pic>
      <p:pic>
        <p:nvPicPr>
          <p:cNvPr id="23" name="Imagem 22"/>
          <p:cNvPicPr>
            <a:picLocks noChangeAspect="1"/>
          </p:cNvPicPr>
          <p:nvPr/>
        </p:nvPicPr>
        <p:blipFill rotWithShape="1">
          <a:blip r:embed="rId4">
            <a:extLst>
              <a:ext uri="{28A0092B-C50C-407E-A947-70E740481C1C}">
                <a14:useLocalDpi xmlns:a14="http://schemas.microsoft.com/office/drawing/2010/main" val="0"/>
              </a:ext>
            </a:extLst>
          </a:blip>
          <a:srcRect l="-1202" r="30307"/>
          <a:stretch/>
        </p:blipFill>
        <p:spPr>
          <a:xfrm>
            <a:off x="0" y="0"/>
            <a:ext cx="8641442" cy="6858000"/>
          </a:xfrm>
          <a:prstGeom prst="rect">
            <a:avLst/>
          </a:prstGeom>
        </p:spPr>
      </p:pic>
      <p:sp>
        <p:nvSpPr>
          <p:cNvPr id="6" name="Elipse 5"/>
          <p:cNvSpPr/>
          <p:nvPr/>
        </p:nvSpPr>
        <p:spPr>
          <a:xfrm>
            <a:off x="6110515" y="1814286"/>
            <a:ext cx="3701144" cy="3701144"/>
          </a:xfrm>
          <a:prstGeom prst="ellipse">
            <a:avLst/>
          </a:prstGeom>
          <a:solidFill>
            <a:srgbClr val="2879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85C440"/>
              </a:solidFill>
              <a:effectLst/>
              <a:uLnTx/>
              <a:uFillTx/>
              <a:latin typeface="Calibri"/>
              <a:ea typeface="+mn-ea"/>
              <a:cs typeface="+mn-cs"/>
            </a:endParaRPr>
          </a:p>
        </p:txBody>
      </p:sp>
      <p:sp>
        <p:nvSpPr>
          <p:cNvPr id="28" name="Elipse 27"/>
          <p:cNvSpPr/>
          <p:nvPr/>
        </p:nvSpPr>
        <p:spPr>
          <a:xfrm>
            <a:off x="2206172" y="1901371"/>
            <a:ext cx="711199" cy="711199"/>
          </a:xfrm>
          <a:prstGeom prst="ellipse">
            <a:avLst/>
          </a:prstGeom>
          <a:solidFill>
            <a:srgbClr val="2879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85C440"/>
              </a:solidFill>
              <a:effectLst/>
              <a:uLnTx/>
              <a:uFillTx/>
              <a:latin typeface="Calibri"/>
              <a:ea typeface="+mn-ea"/>
              <a:cs typeface="+mn-cs"/>
            </a:endParaRPr>
          </a:p>
        </p:txBody>
      </p:sp>
      <p:sp>
        <p:nvSpPr>
          <p:cNvPr id="29" name="Elipse 28"/>
          <p:cNvSpPr/>
          <p:nvPr/>
        </p:nvSpPr>
        <p:spPr>
          <a:xfrm>
            <a:off x="4151088" y="6371772"/>
            <a:ext cx="275770" cy="275770"/>
          </a:xfrm>
          <a:prstGeom prst="ellipse">
            <a:avLst/>
          </a:prstGeom>
          <a:solidFill>
            <a:srgbClr val="2879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85C440"/>
              </a:solidFill>
              <a:effectLst/>
              <a:uLnTx/>
              <a:uFillTx/>
              <a:latin typeface="Calibri"/>
              <a:ea typeface="+mn-ea"/>
              <a:cs typeface="+mn-cs"/>
            </a:endParaRPr>
          </a:p>
        </p:txBody>
      </p:sp>
      <p:sp>
        <p:nvSpPr>
          <p:cNvPr id="41" name="Espaço Reservado para Conteúdo 2"/>
          <p:cNvSpPr txBox="1">
            <a:spLocks/>
          </p:cNvSpPr>
          <p:nvPr/>
        </p:nvSpPr>
        <p:spPr>
          <a:xfrm>
            <a:off x="6374905" y="2902860"/>
            <a:ext cx="3375794" cy="1661993"/>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Tx/>
              <a:buSzTx/>
              <a:buFont typeface="Arial" panose="020B0604020202020204" pitchFamily="34" charset="0"/>
              <a:buNone/>
              <a:tabLst/>
              <a:defRPr/>
            </a:pPr>
            <a:r>
              <a:rPr kumimoji="0" lang="pt-BR" sz="2400" b="0" i="0" u="none" strike="noStrike" kern="1200" cap="none" spc="0" normalizeH="0" baseline="0" noProof="0" dirty="0">
                <a:ln>
                  <a:noFill/>
                </a:ln>
                <a:solidFill>
                  <a:srgbClr val="FFFFFF"/>
                </a:solidFill>
                <a:effectLst/>
                <a:uLnTx/>
                <a:uFillTx/>
                <a:latin typeface="Calibri"/>
                <a:ea typeface="+mn-ea"/>
                <a:cs typeface="+mn-cs"/>
              </a:rPr>
              <a:t>O CIEB é uma associação sem fins lucrativos que visa promover a </a:t>
            </a:r>
            <a:r>
              <a:rPr kumimoji="0" lang="pt-BR" sz="2400" b="1" i="0" u="none" strike="noStrike" kern="1200" cap="none" spc="0" normalizeH="0" baseline="0" noProof="0" dirty="0">
                <a:ln>
                  <a:noFill/>
                </a:ln>
                <a:solidFill>
                  <a:srgbClr val="FFFFFF"/>
                </a:solidFill>
                <a:effectLst/>
                <a:uLnTx/>
                <a:uFillTx/>
                <a:latin typeface="Calibri"/>
                <a:ea typeface="+mn-ea"/>
                <a:cs typeface="+mn-cs"/>
              </a:rPr>
              <a:t>cultura de inovação</a:t>
            </a:r>
            <a:r>
              <a:rPr kumimoji="0" lang="pt-BR" sz="2400" b="0" i="0" u="none" strike="noStrike" kern="1200" cap="none" spc="0" normalizeH="0" baseline="0" noProof="0" dirty="0">
                <a:ln>
                  <a:noFill/>
                </a:ln>
                <a:solidFill>
                  <a:srgbClr val="FFFFFF"/>
                </a:solidFill>
                <a:effectLst/>
                <a:uLnTx/>
                <a:uFillTx/>
                <a:latin typeface="Calibri"/>
                <a:ea typeface="+mn-ea"/>
                <a:cs typeface="+mn-cs"/>
              </a:rPr>
              <a:t> na educação pública brasileira.</a:t>
            </a:r>
          </a:p>
        </p:txBody>
      </p:sp>
      <p:grpSp>
        <p:nvGrpSpPr>
          <p:cNvPr id="3" name="Grupo 2"/>
          <p:cNvGrpSpPr/>
          <p:nvPr/>
        </p:nvGrpSpPr>
        <p:grpSpPr>
          <a:xfrm>
            <a:off x="8636000" y="1538514"/>
            <a:ext cx="1001486" cy="1001486"/>
            <a:chOff x="8636000" y="1538514"/>
            <a:chExt cx="1001486" cy="1001486"/>
          </a:xfrm>
        </p:grpSpPr>
        <p:sp>
          <p:nvSpPr>
            <p:cNvPr id="9" name="Elipse 8"/>
            <p:cNvSpPr/>
            <p:nvPr/>
          </p:nvSpPr>
          <p:spPr>
            <a:xfrm>
              <a:off x="8636000" y="1538514"/>
              <a:ext cx="1001486" cy="1001486"/>
            </a:xfrm>
            <a:prstGeom prst="ellipse">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85C440"/>
                </a:solidFill>
                <a:effectLst/>
                <a:uLnTx/>
                <a:uFillTx/>
                <a:latin typeface="Calibri"/>
                <a:ea typeface="+mn-ea"/>
                <a:cs typeface="+mn-cs"/>
              </a:endParaRPr>
            </a:p>
          </p:txBody>
        </p:sp>
        <p:pic>
          <p:nvPicPr>
            <p:cNvPr id="2" name="Imagem 1"/>
            <p:cNvPicPr>
              <a:picLocks noChangeAspect="1"/>
            </p:cNvPicPr>
            <p:nvPr/>
          </p:nvPicPr>
          <p:blipFill>
            <a:blip r:embed="rId5"/>
            <a:stretch>
              <a:fillRect/>
            </a:stretch>
          </p:blipFill>
          <p:spPr>
            <a:xfrm>
              <a:off x="8946243" y="1761673"/>
              <a:ext cx="381000" cy="596900"/>
            </a:xfrm>
            <a:prstGeom prst="rect">
              <a:avLst/>
            </a:prstGeom>
          </p:spPr>
        </p:pic>
      </p:grpSp>
    </p:spTree>
    <p:extLst>
      <p:ext uri="{BB962C8B-B14F-4D97-AF65-F5344CB8AC3E}">
        <p14:creationId xmlns:p14="http://schemas.microsoft.com/office/powerpoint/2010/main" val="1579188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750"/>
                                        <p:tgtEl>
                                          <p:spTgt spid="23"/>
                                        </p:tgtEl>
                                      </p:cBhvr>
                                    </p:animEffect>
                                  </p:childTnLst>
                                </p:cTn>
                              </p:par>
                              <p:par>
                                <p:cTn id="8" presetID="53" presetClass="entr" presetSubtype="16" fill="hold" grpId="0" nodeType="withEffect">
                                  <p:stCondLst>
                                    <p:cond delay="1750"/>
                                  </p:stCondLst>
                                  <p:childTnLst>
                                    <p:set>
                                      <p:cBhvr>
                                        <p:cTn id="9" dur="1" fill="hold">
                                          <p:stCondLst>
                                            <p:cond delay="0"/>
                                          </p:stCondLst>
                                        </p:cTn>
                                        <p:tgtEl>
                                          <p:spTgt spid="28"/>
                                        </p:tgtEl>
                                        <p:attrNameLst>
                                          <p:attrName>style.visibility</p:attrName>
                                        </p:attrNameLst>
                                      </p:cBhvr>
                                      <p:to>
                                        <p:strVal val="visible"/>
                                      </p:to>
                                    </p:set>
                                    <p:anim calcmode="lin" valueType="num">
                                      <p:cBhvr>
                                        <p:cTn id="10" dur="750" fill="hold"/>
                                        <p:tgtEl>
                                          <p:spTgt spid="28"/>
                                        </p:tgtEl>
                                        <p:attrNameLst>
                                          <p:attrName>ppt_w</p:attrName>
                                        </p:attrNameLst>
                                      </p:cBhvr>
                                      <p:tavLst>
                                        <p:tav tm="0">
                                          <p:val>
                                            <p:fltVal val="0"/>
                                          </p:val>
                                        </p:tav>
                                        <p:tav tm="100000">
                                          <p:val>
                                            <p:strVal val="#ppt_w"/>
                                          </p:val>
                                        </p:tav>
                                      </p:tavLst>
                                    </p:anim>
                                    <p:anim calcmode="lin" valueType="num">
                                      <p:cBhvr>
                                        <p:cTn id="11" dur="750" fill="hold"/>
                                        <p:tgtEl>
                                          <p:spTgt spid="28"/>
                                        </p:tgtEl>
                                        <p:attrNameLst>
                                          <p:attrName>ppt_h</p:attrName>
                                        </p:attrNameLst>
                                      </p:cBhvr>
                                      <p:tavLst>
                                        <p:tav tm="0">
                                          <p:val>
                                            <p:fltVal val="0"/>
                                          </p:val>
                                        </p:tav>
                                        <p:tav tm="100000">
                                          <p:val>
                                            <p:strVal val="#ppt_h"/>
                                          </p:val>
                                        </p:tav>
                                      </p:tavLst>
                                    </p:anim>
                                    <p:animEffect transition="in" filter="fade">
                                      <p:cBhvr>
                                        <p:cTn id="12" dur="750"/>
                                        <p:tgtEl>
                                          <p:spTgt spid="28"/>
                                        </p:tgtEl>
                                      </p:cBhvr>
                                    </p:animEffect>
                                  </p:childTnLst>
                                </p:cTn>
                              </p:par>
                              <p:par>
                                <p:cTn id="13" presetID="53" presetClass="entr" presetSubtype="16" fill="hold" grpId="0" nodeType="withEffect">
                                  <p:stCondLst>
                                    <p:cond delay="1250"/>
                                  </p:stCondLst>
                                  <p:childTnLst>
                                    <p:set>
                                      <p:cBhvr>
                                        <p:cTn id="14" dur="1" fill="hold">
                                          <p:stCondLst>
                                            <p:cond delay="0"/>
                                          </p:stCondLst>
                                        </p:cTn>
                                        <p:tgtEl>
                                          <p:spTgt spid="29"/>
                                        </p:tgtEl>
                                        <p:attrNameLst>
                                          <p:attrName>style.visibility</p:attrName>
                                        </p:attrNameLst>
                                      </p:cBhvr>
                                      <p:to>
                                        <p:strVal val="visible"/>
                                      </p:to>
                                    </p:set>
                                    <p:anim calcmode="lin" valueType="num">
                                      <p:cBhvr>
                                        <p:cTn id="15" dur="750" fill="hold"/>
                                        <p:tgtEl>
                                          <p:spTgt spid="29"/>
                                        </p:tgtEl>
                                        <p:attrNameLst>
                                          <p:attrName>ppt_w</p:attrName>
                                        </p:attrNameLst>
                                      </p:cBhvr>
                                      <p:tavLst>
                                        <p:tav tm="0">
                                          <p:val>
                                            <p:fltVal val="0"/>
                                          </p:val>
                                        </p:tav>
                                        <p:tav tm="100000">
                                          <p:val>
                                            <p:strVal val="#ppt_w"/>
                                          </p:val>
                                        </p:tav>
                                      </p:tavLst>
                                    </p:anim>
                                    <p:anim calcmode="lin" valueType="num">
                                      <p:cBhvr>
                                        <p:cTn id="16" dur="750" fill="hold"/>
                                        <p:tgtEl>
                                          <p:spTgt spid="29"/>
                                        </p:tgtEl>
                                        <p:attrNameLst>
                                          <p:attrName>ppt_h</p:attrName>
                                        </p:attrNameLst>
                                      </p:cBhvr>
                                      <p:tavLst>
                                        <p:tav tm="0">
                                          <p:val>
                                            <p:fltVal val="0"/>
                                          </p:val>
                                        </p:tav>
                                        <p:tav tm="100000">
                                          <p:val>
                                            <p:strVal val="#ppt_h"/>
                                          </p:val>
                                        </p:tav>
                                      </p:tavLst>
                                    </p:anim>
                                    <p:animEffect transition="in" filter="fade">
                                      <p:cBhvr>
                                        <p:cTn id="17" dur="750"/>
                                        <p:tgtEl>
                                          <p:spTgt spid="29"/>
                                        </p:tgtEl>
                                      </p:cBhvr>
                                    </p:animEffect>
                                  </p:childTnLst>
                                </p:cTn>
                              </p:par>
                              <p:par>
                                <p:cTn id="18" presetID="53" presetClass="entr" presetSubtype="16" fill="hold" grpId="0" nodeType="withEffect">
                                  <p:stCondLst>
                                    <p:cond delay="1500"/>
                                  </p:stCondLst>
                                  <p:childTnLst>
                                    <p:set>
                                      <p:cBhvr>
                                        <p:cTn id="19" dur="1" fill="hold">
                                          <p:stCondLst>
                                            <p:cond delay="0"/>
                                          </p:stCondLst>
                                        </p:cTn>
                                        <p:tgtEl>
                                          <p:spTgt spid="6"/>
                                        </p:tgtEl>
                                        <p:attrNameLst>
                                          <p:attrName>style.visibility</p:attrName>
                                        </p:attrNameLst>
                                      </p:cBhvr>
                                      <p:to>
                                        <p:strVal val="visible"/>
                                      </p:to>
                                    </p:set>
                                    <p:anim calcmode="lin" valueType="num">
                                      <p:cBhvr>
                                        <p:cTn id="20" dur="750" fill="hold"/>
                                        <p:tgtEl>
                                          <p:spTgt spid="6"/>
                                        </p:tgtEl>
                                        <p:attrNameLst>
                                          <p:attrName>ppt_w</p:attrName>
                                        </p:attrNameLst>
                                      </p:cBhvr>
                                      <p:tavLst>
                                        <p:tav tm="0">
                                          <p:val>
                                            <p:fltVal val="0"/>
                                          </p:val>
                                        </p:tav>
                                        <p:tav tm="100000">
                                          <p:val>
                                            <p:strVal val="#ppt_w"/>
                                          </p:val>
                                        </p:tav>
                                      </p:tavLst>
                                    </p:anim>
                                    <p:anim calcmode="lin" valueType="num">
                                      <p:cBhvr>
                                        <p:cTn id="21" dur="750" fill="hold"/>
                                        <p:tgtEl>
                                          <p:spTgt spid="6"/>
                                        </p:tgtEl>
                                        <p:attrNameLst>
                                          <p:attrName>ppt_h</p:attrName>
                                        </p:attrNameLst>
                                      </p:cBhvr>
                                      <p:tavLst>
                                        <p:tav tm="0">
                                          <p:val>
                                            <p:fltVal val="0"/>
                                          </p:val>
                                        </p:tav>
                                        <p:tav tm="100000">
                                          <p:val>
                                            <p:strVal val="#ppt_h"/>
                                          </p:val>
                                        </p:tav>
                                      </p:tavLst>
                                    </p:anim>
                                    <p:animEffect transition="in" filter="fade">
                                      <p:cBhvr>
                                        <p:cTn id="22" dur="750"/>
                                        <p:tgtEl>
                                          <p:spTgt spid="6"/>
                                        </p:tgtEl>
                                      </p:cBhvr>
                                    </p:animEffect>
                                  </p:childTnLst>
                                </p:cTn>
                              </p:par>
                              <p:par>
                                <p:cTn id="23" presetID="10" presetClass="entr" presetSubtype="0" fill="hold" grpId="0" nodeType="withEffect">
                                  <p:stCondLst>
                                    <p:cond delay="250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750"/>
                                        <p:tgtEl>
                                          <p:spTgt spid="41"/>
                                        </p:tgtEl>
                                      </p:cBhvr>
                                    </p:animEffect>
                                  </p:childTnLst>
                                </p:cTn>
                              </p:par>
                              <p:par>
                                <p:cTn id="26" presetID="53" presetClass="entr" presetSubtype="16" fill="hold" nodeType="withEffect">
                                  <p:stCondLst>
                                    <p:cond delay="2500"/>
                                  </p:stCondLst>
                                  <p:childTnLst>
                                    <p:set>
                                      <p:cBhvr>
                                        <p:cTn id="27" dur="1" fill="hold">
                                          <p:stCondLst>
                                            <p:cond delay="0"/>
                                          </p:stCondLst>
                                        </p:cTn>
                                        <p:tgtEl>
                                          <p:spTgt spid="3"/>
                                        </p:tgtEl>
                                        <p:attrNameLst>
                                          <p:attrName>style.visibility</p:attrName>
                                        </p:attrNameLst>
                                      </p:cBhvr>
                                      <p:to>
                                        <p:strVal val="visible"/>
                                      </p:to>
                                    </p:set>
                                    <p:anim calcmode="lin" valueType="num">
                                      <p:cBhvr>
                                        <p:cTn id="28" dur="750" fill="hold"/>
                                        <p:tgtEl>
                                          <p:spTgt spid="3"/>
                                        </p:tgtEl>
                                        <p:attrNameLst>
                                          <p:attrName>ppt_w</p:attrName>
                                        </p:attrNameLst>
                                      </p:cBhvr>
                                      <p:tavLst>
                                        <p:tav tm="0">
                                          <p:val>
                                            <p:fltVal val="0"/>
                                          </p:val>
                                        </p:tav>
                                        <p:tav tm="100000">
                                          <p:val>
                                            <p:strVal val="#ppt_w"/>
                                          </p:val>
                                        </p:tav>
                                      </p:tavLst>
                                    </p:anim>
                                    <p:anim calcmode="lin" valueType="num">
                                      <p:cBhvr>
                                        <p:cTn id="29" dur="750" fill="hold"/>
                                        <p:tgtEl>
                                          <p:spTgt spid="3"/>
                                        </p:tgtEl>
                                        <p:attrNameLst>
                                          <p:attrName>ppt_h</p:attrName>
                                        </p:attrNameLst>
                                      </p:cBhvr>
                                      <p:tavLst>
                                        <p:tav tm="0">
                                          <p:val>
                                            <p:fltVal val="0"/>
                                          </p:val>
                                        </p:tav>
                                        <p:tav tm="100000">
                                          <p:val>
                                            <p:strVal val="#ppt_h"/>
                                          </p:val>
                                        </p:tav>
                                      </p:tavLst>
                                    </p:anim>
                                    <p:animEffect transition="in" filter="fade">
                                      <p:cBhvr>
                                        <p:cTn id="30"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8" grpId="0" animBg="1"/>
      <p:bldP spid="29" grpId="0" animBg="1"/>
      <p:bldP spid="4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0"/>
          </p:nvPr>
        </p:nvSpPr>
        <p:spPr/>
        <p:txBody>
          <a:bodyPr/>
          <a:lstStyle/>
          <a:p>
            <a:r>
              <a:rPr lang="pt-BR" sz="7200" kern="0" dirty="0">
                <a:solidFill>
                  <a:schemeClr val="tx2"/>
                </a:solidFill>
                <a:ea typeface="Lato Black" charset="0"/>
                <a:cs typeface="Lato Black" charset="0"/>
              </a:rPr>
              <a:t>Evidências sobre </a:t>
            </a:r>
          </a:p>
          <a:p>
            <a:r>
              <a:rPr lang="pt-BR" sz="7200" kern="0" dirty="0">
                <a:solidFill>
                  <a:schemeClr val="tx2"/>
                </a:solidFill>
                <a:ea typeface="Lato Black" charset="0"/>
                <a:cs typeface="Lato Black" charset="0"/>
              </a:rPr>
              <a:t>Políticas de Inovação e Tecnologia para Educação</a:t>
            </a:r>
            <a:endParaRPr lang="pt-BR" sz="5400" kern="0" dirty="0">
              <a:solidFill>
                <a:schemeClr val="tx2"/>
              </a:solidFill>
              <a:ea typeface="Lato Black" charset="0"/>
              <a:cs typeface="Lato Black" charset="0"/>
            </a:endParaRPr>
          </a:p>
        </p:txBody>
      </p:sp>
      <p:sp>
        <p:nvSpPr>
          <p:cNvPr id="4" name="CaixaDeTexto 1"/>
          <p:cNvSpPr txBox="1"/>
          <p:nvPr/>
        </p:nvSpPr>
        <p:spPr>
          <a:xfrm>
            <a:off x="382558" y="6192249"/>
            <a:ext cx="2899328" cy="646331"/>
          </a:xfrm>
          <a:prstGeom prst="rect">
            <a:avLst/>
          </a:prstGeom>
          <a:noFill/>
        </p:spPr>
        <p:txBody>
          <a:bodyPr wrap="square" lIns="0" rIns="0" rtlCol="0">
            <a:spAutoFit/>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dirty="0">
                <a:solidFill>
                  <a:srgbClr val="FFFFFF"/>
                </a:solidFill>
                <a:latin typeface="Calibri"/>
              </a:rPr>
              <a:t>Lucia Dellagnelo, </a:t>
            </a:r>
            <a:r>
              <a:rPr lang="pt-BR" dirty="0" err="1">
                <a:solidFill>
                  <a:srgbClr val="FFFFFF"/>
                </a:solidFill>
                <a:latin typeface="Calibri"/>
              </a:rPr>
              <a:t>Ed.D</a:t>
            </a:r>
            <a:r>
              <a:rPr lang="pt-BR" dirty="0">
                <a:solidFill>
                  <a:srgbClr val="FFFFFF"/>
                </a:solidFill>
                <a:latin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pt-BR" dirty="0">
                <a:solidFill>
                  <a:srgbClr val="FFFFFF"/>
                </a:solidFill>
                <a:latin typeface="Calibri"/>
              </a:rPr>
              <a:t>Junho</a:t>
            </a:r>
            <a:r>
              <a:rPr kumimoji="0" lang="pt-BR" sz="1800" b="0" i="0" u="none" strike="noStrike" kern="1200" cap="none" spc="0" normalizeH="0" baseline="0" noProof="0" dirty="0">
                <a:ln>
                  <a:noFill/>
                </a:ln>
                <a:solidFill>
                  <a:srgbClr val="FFFFFF"/>
                </a:solidFill>
                <a:effectLst/>
                <a:uLnTx/>
                <a:uFillTx/>
                <a:latin typeface="Calibri"/>
                <a:ea typeface="+mn-ea"/>
                <a:cs typeface="+mn-cs"/>
              </a:rPr>
              <a:t> de 2018</a:t>
            </a:r>
          </a:p>
        </p:txBody>
      </p:sp>
    </p:spTree>
    <p:extLst>
      <p:ext uri="{BB962C8B-B14F-4D97-AF65-F5344CB8AC3E}">
        <p14:creationId xmlns:p14="http://schemas.microsoft.com/office/powerpoint/2010/main" val="1548360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C5B35C-FEDC-4837-AE1F-D4620408920B}"/>
              </a:ext>
            </a:extLst>
          </p:cNvPr>
          <p:cNvSpPr>
            <a:spLocks noGrp="1"/>
          </p:cNvSpPr>
          <p:nvPr>
            <p:ph type="title"/>
          </p:nvPr>
        </p:nvSpPr>
        <p:spPr/>
        <p:txBody>
          <a:bodyPr/>
          <a:lstStyle/>
          <a:p>
            <a:r>
              <a:rPr lang="pt-BR" dirty="0"/>
              <a:t>Promessas da tecnologia para educação</a:t>
            </a:r>
          </a:p>
        </p:txBody>
      </p:sp>
      <p:graphicFrame>
        <p:nvGraphicFramePr>
          <p:cNvPr id="5" name="Espaço Reservado para Conteúdo 4">
            <a:extLst>
              <a:ext uri="{FF2B5EF4-FFF2-40B4-BE49-F238E27FC236}">
                <a16:creationId xmlns:a16="http://schemas.microsoft.com/office/drawing/2014/main" id="{A99B2366-A201-47AB-AEAD-74ACCB83BD80}"/>
              </a:ext>
            </a:extLst>
          </p:cNvPr>
          <p:cNvGraphicFramePr>
            <a:graphicFrameLocks noGrp="1"/>
          </p:cNvGraphicFramePr>
          <p:nvPr>
            <p:ph idx="1"/>
            <p:extLst>
              <p:ext uri="{D42A27DB-BD31-4B8C-83A1-F6EECF244321}">
                <p14:modId xmlns:p14="http://schemas.microsoft.com/office/powerpoint/2010/main" val="1492033300"/>
              </p:ext>
            </p:extLst>
          </p:nvPr>
        </p:nvGraphicFramePr>
        <p:xfrm>
          <a:off x="-133692" y="1590661"/>
          <a:ext cx="11158650" cy="41891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a 3">
            <a:extLst>
              <a:ext uri="{FF2B5EF4-FFF2-40B4-BE49-F238E27FC236}">
                <a16:creationId xmlns:a16="http://schemas.microsoft.com/office/drawing/2014/main" id="{18EB735E-74BC-4020-BDD3-E55DC295C1FC}"/>
              </a:ext>
            </a:extLst>
          </p:cNvPr>
          <p:cNvGraphicFramePr/>
          <p:nvPr>
            <p:extLst>
              <p:ext uri="{D42A27DB-BD31-4B8C-83A1-F6EECF244321}">
                <p14:modId xmlns:p14="http://schemas.microsoft.com/office/powerpoint/2010/main" val="344601540"/>
              </p:ext>
            </p:extLst>
          </p:nvPr>
        </p:nvGraphicFramePr>
        <p:xfrm>
          <a:off x="434109" y="2068945"/>
          <a:ext cx="11526982" cy="396039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Elipse 8">
            <a:extLst>
              <a:ext uri="{FF2B5EF4-FFF2-40B4-BE49-F238E27FC236}">
                <a16:creationId xmlns:a16="http://schemas.microsoft.com/office/drawing/2014/main" id="{A5EE5393-9F71-4E03-8245-02932B929933}"/>
              </a:ext>
            </a:extLst>
          </p:cNvPr>
          <p:cNvSpPr/>
          <p:nvPr/>
        </p:nvSpPr>
        <p:spPr>
          <a:xfrm>
            <a:off x="9237487" y="4604325"/>
            <a:ext cx="2723604" cy="105740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400" b="1" dirty="0">
                <a:solidFill>
                  <a:schemeClr val="tx1"/>
                </a:solidFill>
              </a:rPr>
              <a:t> Engajamento</a:t>
            </a:r>
          </a:p>
        </p:txBody>
      </p:sp>
      <p:sp>
        <p:nvSpPr>
          <p:cNvPr id="10" name="Elipse 9">
            <a:extLst>
              <a:ext uri="{FF2B5EF4-FFF2-40B4-BE49-F238E27FC236}">
                <a16:creationId xmlns:a16="http://schemas.microsoft.com/office/drawing/2014/main" id="{84844488-4E26-48F2-B830-3893FB51B9A2}"/>
              </a:ext>
            </a:extLst>
          </p:cNvPr>
          <p:cNvSpPr/>
          <p:nvPr/>
        </p:nvSpPr>
        <p:spPr>
          <a:xfrm>
            <a:off x="845128" y="4604326"/>
            <a:ext cx="2124363" cy="105740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400" b="1" dirty="0">
                <a:solidFill>
                  <a:schemeClr val="tx1"/>
                </a:solidFill>
              </a:rPr>
              <a:t>Melhorias de Gestão</a:t>
            </a:r>
          </a:p>
        </p:txBody>
      </p:sp>
    </p:spTree>
    <p:extLst>
      <p:ext uri="{BB962C8B-B14F-4D97-AF65-F5344CB8AC3E}">
        <p14:creationId xmlns:p14="http://schemas.microsoft.com/office/powerpoint/2010/main" val="2510917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5" name="think-cell Slide" r:id="rId4" imgW="270" imgH="270" progId="TCLayout.ActiveDocument.1">
                  <p:embed/>
                </p:oleObj>
              </mc:Choice>
              <mc:Fallback>
                <p:oleObj name="think-cell Slide" r:id="rId4" imgW="270" imgH="270" progId="TCLayout.ActiveDocument.1">
                  <p:embed/>
                  <p:pic>
                    <p:nvPicPr>
                      <p:cNvPr id="25" name="Object 2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5" name="Retângulo 7"/>
          <p:cNvSpPr/>
          <p:nvPr/>
        </p:nvSpPr>
        <p:spPr>
          <a:xfrm>
            <a:off x="531327" y="1091621"/>
            <a:ext cx="1063011" cy="155714"/>
          </a:xfrm>
          <a:prstGeom prst="rect">
            <a:avLst/>
          </a:prstGeom>
          <a:solidFill>
            <a:srgbClr val="85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85C440"/>
              </a:solidFill>
              <a:effectLst/>
              <a:uLnTx/>
              <a:uFillTx/>
              <a:latin typeface="Calibri"/>
              <a:ea typeface="+mn-ea"/>
              <a:cs typeface="+mn-cs"/>
            </a:endParaRPr>
          </a:p>
        </p:txBody>
      </p:sp>
      <p:sp>
        <p:nvSpPr>
          <p:cNvPr id="66" name="Title Placeholder 1"/>
          <p:cNvSpPr txBox="1">
            <a:spLocks/>
          </p:cNvSpPr>
          <p:nvPr/>
        </p:nvSpPr>
        <p:spPr>
          <a:xfrm>
            <a:off x="518619" y="84404"/>
            <a:ext cx="11158650" cy="1311128"/>
          </a:xfrm>
          <a:prstGeom prst="rect">
            <a:avLst/>
          </a:prstGeom>
          <a:noFill/>
        </p:spPr>
        <p:txBody>
          <a:bodyPr wrap="square" lIns="0" rIns="0" rtlCol="0" anchor="b">
            <a:spAutoFit/>
          </a:bodyPr>
          <a:lstStyle>
            <a:lvl1pPr algn="l" defTabSz="914400" rtl="0" eaLnBrk="1" latinLnBrk="0" hangingPunct="1">
              <a:lnSpc>
                <a:spcPct val="90000"/>
              </a:lnSpc>
              <a:spcBef>
                <a:spcPct val="0"/>
              </a:spcBef>
              <a:buNone/>
              <a:defRPr lang="en-US" sz="4400" b="1" kern="1200">
                <a:solidFill>
                  <a:srgbClr val="13243D"/>
                </a:solidFill>
                <a:latin typeface="Calibri"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4400" b="1" i="0" u="none" strike="noStrike" kern="1200" cap="none" spc="0" normalizeH="0" baseline="0" noProof="0" dirty="0">
                <a:ln>
                  <a:noFill/>
                </a:ln>
                <a:solidFill>
                  <a:srgbClr val="13243D"/>
                </a:solidFill>
                <a:effectLst/>
                <a:uLnTx/>
                <a:uFillTx/>
                <a:latin typeface="Calibri" charset="0"/>
                <a:ea typeface="+mj-ea"/>
                <a:cs typeface="Calibri" panose="020F0502020204030204" pitchFamily="34" charset="0"/>
              </a:rPr>
              <a:t>Vários países implementam políticas de </a:t>
            </a:r>
          </a:p>
          <a:p>
            <a:pPr marL="0" marR="0" lvl="0" indent="0" algn="l" defTabSz="914400" rtl="0" eaLnBrk="1" fontAlgn="auto" latinLnBrk="0" hangingPunct="1">
              <a:lnSpc>
                <a:spcPct val="90000"/>
              </a:lnSpc>
              <a:spcBef>
                <a:spcPct val="0"/>
              </a:spcBef>
              <a:spcAft>
                <a:spcPts val="0"/>
              </a:spcAft>
              <a:buClrTx/>
              <a:buSzTx/>
              <a:buFontTx/>
              <a:buNone/>
              <a:tabLst/>
              <a:defRPr/>
            </a:pPr>
            <a:r>
              <a:rPr lang="pt-BR" dirty="0">
                <a:cs typeface="Calibri" panose="020F0502020204030204" pitchFamily="34" charset="0"/>
              </a:rPr>
              <a:t>                  </a:t>
            </a:r>
            <a:r>
              <a:rPr kumimoji="0" lang="pt-BR" sz="4400" b="1" i="0" u="none" strike="noStrike" kern="1200" cap="none" spc="0" normalizeH="0" baseline="0" noProof="0" dirty="0">
                <a:ln>
                  <a:noFill/>
                </a:ln>
                <a:solidFill>
                  <a:srgbClr val="13243D"/>
                </a:solidFill>
                <a:effectLst/>
                <a:uLnTx/>
                <a:uFillTx/>
                <a:latin typeface="Calibri" charset="0"/>
                <a:ea typeface="+mj-ea"/>
                <a:cs typeface="Calibri" panose="020F0502020204030204" pitchFamily="34" charset="0"/>
              </a:rPr>
              <a:t>  inovação e tecnologia para educação</a:t>
            </a:r>
            <a:endParaRPr kumimoji="0" lang="pt-BR" sz="2400" b="0" i="0" u="none" strike="noStrike" kern="1200" cap="none" spc="0" normalizeH="0" baseline="0" noProof="0" dirty="0">
              <a:ln>
                <a:noFill/>
              </a:ln>
              <a:solidFill>
                <a:srgbClr val="13243D"/>
              </a:solidFill>
              <a:effectLst/>
              <a:uLnTx/>
              <a:uFillTx/>
              <a:latin typeface="Calibri" charset="0"/>
              <a:ea typeface="+mj-ea"/>
              <a:cs typeface="+mj-cs"/>
            </a:endParaRPr>
          </a:p>
        </p:txBody>
      </p:sp>
      <p:grpSp>
        <p:nvGrpSpPr>
          <p:cNvPr id="3" name="Group 2"/>
          <p:cNvGrpSpPr/>
          <p:nvPr/>
        </p:nvGrpSpPr>
        <p:grpSpPr>
          <a:xfrm>
            <a:off x="514731" y="1376688"/>
            <a:ext cx="11267924" cy="5233473"/>
            <a:chOff x="886077" y="1584820"/>
            <a:chExt cx="10216483" cy="5233473"/>
          </a:xfrm>
        </p:grpSpPr>
        <p:sp>
          <p:nvSpPr>
            <p:cNvPr id="52" name="Rectangle 51"/>
            <p:cNvSpPr/>
            <p:nvPr/>
          </p:nvSpPr>
          <p:spPr>
            <a:xfrm>
              <a:off x="886077" y="1584820"/>
              <a:ext cx="10216483" cy="5233473"/>
            </a:xfrm>
            <a:prstGeom prst="rect">
              <a:avLst/>
            </a:prstGeom>
            <a:solidFill>
              <a:schemeClr val="tx2">
                <a:lumMod val="95000"/>
              </a:schemeClr>
            </a:solidFill>
            <a:ln w="12700" cap="flat" cmpd="sng" algn="ctr">
              <a:noFill/>
              <a:prstDash val="solid"/>
              <a:miter lim="800000"/>
            </a:ln>
            <a:effectLst>
              <a:outerShdw blurRad="50800" dist="38100" dir="16200000" rotWithShape="0">
                <a:prstClr val="black">
                  <a:alpha val="40000"/>
                </a:prstClr>
              </a:outerShdw>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85C440"/>
                </a:solidFill>
                <a:effectLst/>
                <a:uLnTx/>
                <a:uFillTx/>
                <a:latin typeface="Calibri"/>
                <a:ea typeface="+mn-ea"/>
                <a:cs typeface="+mn-cs"/>
              </a:endParaRPr>
            </a:p>
          </p:txBody>
        </p:sp>
        <p:grpSp>
          <p:nvGrpSpPr>
            <p:cNvPr id="2" name="Group 1"/>
            <p:cNvGrpSpPr/>
            <p:nvPr/>
          </p:nvGrpSpPr>
          <p:grpSpPr>
            <a:xfrm>
              <a:off x="1938182" y="1620503"/>
              <a:ext cx="8018306" cy="4973858"/>
              <a:chOff x="1490118" y="1273816"/>
              <a:chExt cx="8805890" cy="5462407"/>
            </a:xfrm>
          </p:grpSpPr>
          <p:grpSp>
            <p:nvGrpSpPr>
              <p:cNvPr id="56" name="Group 55"/>
              <p:cNvGrpSpPr/>
              <p:nvPr/>
            </p:nvGrpSpPr>
            <p:grpSpPr>
              <a:xfrm>
                <a:off x="1490118" y="1629752"/>
                <a:ext cx="8793243" cy="5106471"/>
                <a:chOff x="1806983" y="1701138"/>
                <a:chExt cx="8221361" cy="4595813"/>
              </a:xfrm>
            </p:grpSpPr>
            <p:sp>
              <p:nvSpPr>
                <p:cNvPr id="57" name="Freeform 176"/>
                <p:cNvSpPr>
                  <a:spLocks/>
                </p:cNvSpPr>
                <p:nvPr/>
              </p:nvSpPr>
              <p:spPr bwMode="gray">
                <a:xfrm>
                  <a:off x="1806983" y="1982126"/>
                  <a:ext cx="2555908" cy="4314825"/>
                </a:xfrm>
                <a:custGeom>
                  <a:avLst/>
                  <a:gdLst>
                    <a:gd name="T0" fmla="*/ 452 w 3219"/>
                    <a:gd name="T1" fmla="*/ 47 h 5435"/>
                    <a:gd name="T2" fmla="*/ 501 w 3219"/>
                    <a:gd name="T3" fmla="*/ 62 h 5435"/>
                    <a:gd name="T4" fmla="*/ 725 w 3219"/>
                    <a:gd name="T5" fmla="*/ 81 h 5435"/>
                    <a:gd name="T6" fmla="*/ 616 w 3219"/>
                    <a:gd name="T7" fmla="*/ 93 h 5435"/>
                    <a:gd name="T8" fmla="*/ 634 w 3219"/>
                    <a:gd name="T9" fmla="*/ 47 h 5435"/>
                    <a:gd name="T10" fmla="*/ 571 w 3219"/>
                    <a:gd name="T11" fmla="*/ 81 h 5435"/>
                    <a:gd name="T12" fmla="*/ 577 w 3219"/>
                    <a:gd name="T13" fmla="*/ 90 h 5435"/>
                    <a:gd name="T14" fmla="*/ 534 w 3219"/>
                    <a:gd name="T15" fmla="*/ 108 h 5435"/>
                    <a:gd name="T16" fmla="*/ 466 w 3219"/>
                    <a:gd name="T17" fmla="*/ 175 h 5435"/>
                    <a:gd name="T18" fmla="*/ 501 w 3219"/>
                    <a:gd name="T19" fmla="*/ 225 h 5435"/>
                    <a:gd name="T20" fmla="*/ 538 w 3219"/>
                    <a:gd name="T21" fmla="*/ 196 h 5435"/>
                    <a:gd name="T22" fmla="*/ 585 w 3219"/>
                    <a:gd name="T23" fmla="*/ 137 h 5435"/>
                    <a:gd name="T24" fmla="*/ 635 w 3219"/>
                    <a:gd name="T25" fmla="*/ 158 h 5435"/>
                    <a:gd name="T26" fmla="*/ 674 w 3219"/>
                    <a:gd name="T27" fmla="*/ 155 h 5435"/>
                    <a:gd name="T28" fmla="*/ 653 w 3219"/>
                    <a:gd name="T29" fmla="*/ 254 h 5435"/>
                    <a:gd name="T30" fmla="*/ 616 w 3219"/>
                    <a:gd name="T31" fmla="*/ 268 h 5435"/>
                    <a:gd name="T32" fmla="*/ 638 w 3219"/>
                    <a:gd name="T33" fmla="*/ 282 h 5435"/>
                    <a:gd name="T34" fmla="*/ 585 w 3219"/>
                    <a:gd name="T35" fmla="*/ 319 h 5435"/>
                    <a:gd name="T36" fmla="*/ 555 w 3219"/>
                    <a:gd name="T37" fmla="*/ 319 h 5435"/>
                    <a:gd name="T38" fmla="*/ 509 w 3219"/>
                    <a:gd name="T39" fmla="*/ 365 h 5435"/>
                    <a:gd name="T40" fmla="*/ 484 w 3219"/>
                    <a:gd name="T41" fmla="*/ 390 h 5435"/>
                    <a:gd name="T42" fmla="*/ 409 w 3219"/>
                    <a:gd name="T43" fmla="*/ 474 h 5435"/>
                    <a:gd name="T44" fmla="*/ 391 w 3219"/>
                    <a:gd name="T45" fmla="*/ 467 h 5435"/>
                    <a:gd name="T46" fmla="*/ 343 w 3219"/>
                    <a:gd name="T47" fmla="*/ 479 h 5435"/>
                    <a:gd name="T48" fmla="*/ 234 w 3219"/>
                    <a:gd name="T49" fmla="*/ 560 h 5435"/>
                    <a:gd name="T50" fmla="*/ 298 w 3219"/>
                    <a:gd name="T51" fmla="*/ 556 h 5435"/>
                    <a:gd name="T52" fmla="*/ 333 w 3219"/>
                    <a:gd name="T53" fmla="*/ 575 h 5435"/>
                    <a:gd name="T54" fmla="*/ 311 w 3219"/>
                    <a:gd name="T55" fmla="*/ 605 h 5435"/>
                    <a:gd name="T56" fmla="*/ 368 w 3219"/>
                    <a:gd name="T57" fmla="*/ 690 h 5435"/>
                    <a:gd name="T58" fmla="*/ 409 w 3219"/>
                    <a:gd name="T59" fmla="*/ 691 h 5435"/>
                    <a:gd name="T60" fmla="*/ 553 w 3219"/>
                    <a:gd name="T61" fmla="*/ 668 h 5435"/>
                    <a:gd name="T62" fmla="*/ 646 w 3219"/>
                    <a:gd name="T63" fmla="*/ 724 h 5435"/>
                    <a:gd name="T64" fmla="*/ 675 w 3219"/>
                    <a:gd name="T65" fmla="*/ 785 h 5435"/>
                    <a:gd name="T66" fmla="*/ 774 w 3219"/>
                    <a:gd name="T67" fmla="*/ 917 h 5435"/>
                    <a:gd name="T68" fmla="*/ 703 w 3219"/>
                    <a:gd name="T69" fmla="*/ 1074 h 5435"/>
                    <a:gd name="T70" fmla="*/ 648 w 3219"/>
                    <a:gd name="T71" fmla="*/ 1143 h 5435"/>
                    <a:gd name="T72" fmla="*/ 634 w 3219"/>
                    <a:gd name="T73" fmla="*/ 1266 h 5435"/>
                    <a:gd name="T74" fmla="*/ 691 w 3219"/>
                    <a:gd name="T75" fmla="*/ 1349 h 5435"/>
                    <a:gd name="T76" fmla="*/ 554 w 3219"/>
                    <a:gd name="T77" fmla="*/ 1236 h 5435"/>
                    <a:gd name="T78" fmla="*/ 369 w 3219"/>
                    <a:gd name="T79" fmla="*/ 841 h 5435"/>
                    <a:gd name="T80" fmla="*/ 414 w 3219"/>
                    <a:gd name="T81" fmla="*/ 743 h 5435"/>
                    <a:gd name="T82" fmla="*/ 372 w 3219"/>
                    <a:gd name="T83" fmla="*/ 701 h 5435"/>
                    <a:gd name="T84" fmla="*/ 184 w 3219"/>
                    <a:gd name="T85" fmla="*/ 583 h 5435"/>
                    <a:gd name="T86" fmla="*/ 170 w 3219"/>
                    <a:gd name="T87" fmla="*/ 556 h 5435"/>
                    <a:gd name="T88" fmla="*/ 134 w 3219"/>
                    <a:gd name="T89" fmla="*/ 442 h 5435"/>
                    <a:gd name="T90" fmla="*/ 140 w 3219"/>
                    <a:gd name="T91" fmla="*/ 529 h 5435"/>
                    <a:gd name="T92" fmla="*/ 114 w 3219"/>
                    <a:gd name="T93" fmla="*/ 474 h 5435"/>
                    <a:gd name="T94" fmla="*/ 109 w 3219"/>
                    <a:gd name="T95" fmla="*/ 329 h 5435"/>
                    <a:gd name="T96" fmla="*/ 170 w 3219"/>
                    <a:gd name="T97" fmla="*/ 254 h 5435"/>
                    <a:gd name="T98" fmla="*/ 183 w 3219"/>
                    <a:gd name="T99" fmla="*/ 225 h 5435"/>
                    <a:gd name="T100" fmla="*/ 112 w 3219"/>
                    <a:gd name="T101" fmla="*/ 113 h 5435"/>
                    <a:gd name="T102" fmla="*/ 17 w 3219"/>
                    <a:gd name="T103" fmla="*/ 137 h 5435"/>
                    <a:gd name="T104" fmla="*/ 53 w 3219"/>
                    <a:gd name="T105" fmla="*/ 80 h 5435"/>
                    <a:gd name="T106" fmla="*/ 103 w 3219"/>
                    <a:gd name="T107" fmla="*/ 53 h 5435"/>
                    <a:gd name="T108" fmla="*/ 139 w 3219"/>
                    <a:gd name="T109" fmla="*/ 34 h 5435"/>
                    <a:gd name="T110" fmla="*/ 250 w 3219"/>
                    <a:gd name="T111" fmla="*/ 1 h 543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219"/>
                    <a:gd name="T169" fmla="*/ 0 h 5435"/>
                    <a:gd name="T170" fmla="*/ 3219 w 3219"/>
                    <a:gd name="T171" fmla="*/ 5435 h 543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219" h="5435">
                      <a:moveTo>
                        <a:pt x="1196" y="75"/>
                      </a:moveTo>
                      <a:lnTo>
                        <a:pt x="1488" y="81"/>
                      </a:lnTo>
                      <a:lnTo>
                        <a:pt x="1670" y="154"/>
                      </a:lnTo>
                      <a:lnTo>
                        <a:pt x="1705" y="188"/>
                      </a:lnTo>
                      <a:lnTo>
                        <a:pt x="1806" y="188"/>
                      </a:lnTo>
                      <a:lnTo>
                        <a:pt x="1810" y="184"/>
                      </a:lnTo>
                      <a:lnTo>
                        <a:pt x="1810" y="173"/>
                      </a:lnTo>
                      <a:lnTo>
                        <a:pt x="1914" y="173"/>
                      </a:lnTo>
                      <a:lnTo>
                        <a:pt x="1996" y="238"/>
                      </a:lnTo>
                      <a:lnTo>
                        <a:pt x="2004" y="248"/>
                      </a:lnTo>
                      <a:lnTo>
                        <a:pt x="2338" y="40"/>
                      </a:lnTo>
                      <a:lnTo>
                        <a:pt x="2710" y="40"/>
                      </a:lnTo>
                      <a:lnTo>
                        <a:pt x="2885" y="173"/>
                      </a:lnTo>
                      <a:lnTo>
                        <a:pt x="2900" y="307"/>
                      </a:lnTo>
                      <a:lnTo>
                        <a:pt x="2900" y="324"/>
                      </a:lnTo>
                      <a:lnTo>
                        <a:pt x="2701" y="516"/>
                      </a:lnTo>
                      <a:lnTo>
                        <a:pt x="2693" y="526"/>
                      </a:lnTo>
                      <a:lnTo>
                        <a:pt x="2578" y="426"/>
                      </a:lnTo>
                      <a:lnTo>
                        <a:pt x="2467" y="376"/>
                      </a:lnTo>
                      <a:lnTo>
                        <a:pt x="2463" y="372"/>
                      </a:lnTo>
                      <a:lnTo>
                        <a:pt x="2463" y="359"/>
                      </a:lnTo>
                      <a:lnTo>
                        <a:pt x="2584" y="359"/>
                      </a:lnTo>
                      <a:lnTo>
                        <a:pt x="2687" y="248"/>
                      </a:lnTo>
                      <a:lnTo>
                        <a:pt x="2601" y="173"/>
                      </a:lnTo>
                      <a:lnTo>
                        <a:pt x="2534" y="188"/>
                      </a:lnTo>
                      <a:lnTo>
                        <a:pt x="2534" y="163"/>
                      </a:lnTo>
                      <a:lnTo>
                        <a:pt x="2530" y="157"/>
                      </a:lnTo>
                      <a:lnTo>
                        <a:pt x="2486" y="217"/>
                      </a:lnTo>
                      <a:lnTo>
                        <a:pt x="2426" y="320"/>
                      </a:lnTo>
                      <a:lnTo>
                        <a:pt x="2282" y="324"/>
                      </a:lnTo>
                      <a:lnTo>
                        <a:pt x="2232" y="340"/>
                      </a:lnTo>
                      <a:lnTo>
                        <a:pt x="2232" y="372"/>
                      </a:lnTo>
                      <a:lnTo>
                        <a:pt x="2254" y="372"/>
                      </a:lnTo>
                      <a:lnTo>
                        <a:pt x="2292" y="359"/>
                      </a:lnTo>
                      <a:lnTo>
                        <a:pt x="2305" y="359"/>
                      </a:lnTo>
                      <a:lnTo>
                        <a:pt x="2338" y="426"/>
                      </a:lnTo>
                      <a:lnTo>
                        <a:pt x="2319" y="445"/>
                      </a:lnTo>
                      <a:lnTo>
                        <a:pt x="2292" y="445"/>
                      </a:lnTo>
                      <a:lnTo>
                        <a:pt x="2236" y="413"/>
                      </a:lnTo>
                      <a:lnTo>
                        <a:pt x="2133" y="432"/>
                      </a:lnTo>
                      <a:lnTo>
                        <a:pt x="1914" y="526"/>
                      </a:lnTo>
                      <a:lnTo>
                        <a:pt x="1831" y="618"/>
                      </a:lnTo>
                      <a:lnTo>
                        <a:pt x="1850" y="633"/>
                      </a:lnTo>
                      <a:lnTo>
                        <a:pt x="1854" y="633"/>
                      </a:lnTo>
                      <a:lnTo>
                        <a:pt x="1864" y="699"/>
                      </a:lnTo>
                      <a:lnTo>
                        <a:pt x="2017" y="787"/>
                      </a:lnTo>
                      <a:lnTo>
                        <a:pt x="2039" y="787"/>
                      </a:lnTo>
                      <a:lnTo>
                        <a:pt x="2071" y="825"/>
                      </a:lnTo>
                      <a:lnTo>
                        <a:pt x="2004" y="835"/>
                      </a:lnTo>
                      <a:lnTo>
                        <a:pt x="2004" y="898"/>
                      </a:lnTo>
                      <a:lnTo>
                        <a:pt x="2025" y="906"/>
                      </a:lnTo>
                      <a:lnTo>
                        <a:pt x="2042" y="925"/>
                      </a:lnTo>
                      <a:lnTo>
                        <a:pt x="2108" y="925"/>
                      </a:lnTo>
                      <a:lnTo>
                        <a:pt x="2127" y="796"/>
                      </a:lnTo>
                      <a:lnTo>
                        <a:pt x="2150" y="781"/>
                      </a:lnTo>
                      <a:lnTo>
                        <a:pt x="2227" y="737"/>
                      </a:lnTo>
                      <a:lnTo>
                        <a:pt x="2250" y="716"/>
                      </a:lnTo>
                      <a:lnTo>
                        <a:pt x="2232" y="639"/>
                      </a:lnTo>
                      <a:lnTo>
                        <a:pt x="2325" y="558"/>
                      </a:lnTo>
                      <a:lnTo>
                        <a:pt x="2338" y="545"/>
                      </a:lnTo>
                      <a:lnTo>
                        <a:pt x="2338" y="526"/>
                      </a:lnTo>
                      <a:lnTo>
                        <a:pt x="2478" y="507"/>
                      </a:lnTo>
                      <a:lnTo>
                        <a:pt x="2572" y="526"/>
                      </a:lnTo>
                      <a:lnTo>
                        <a:pt x="2584" y="526"/>
                      </a:lnTo>
                      <a:lnTo>
                        <a:pt x="2538" y="629"/>
                      </a:lnTo>
                      <a:lnTo>
                        <a:pt x="2534" y="633"/>
                      </a:lnTo>
                      <a:lnTo>
                        <a:pt x="2568" y="653"/>
                      </a:lnTo>
                      <a:lnTo>
                        <a:pt x="2611" y="653"/>
                      </a:lnTo>
                      <a:lnTo>
                        <a:pt x="2685" y="620"/>
                      </a:lnTo>
                      <a:lnTo>
                        <a:pt x="2693" y="620"/>
                      </a:lnTo>
                      <a:lnTo>
                        <a:pt x="2743" y="716"/>
                      </a:lnTo>
                      <a:lnTo>
                        <a:pt x="2743" y="787"/>
                      </a:lnTo>
                      <a:lnTo>
                        <a:pt x="2812" y="846"/>
                      </a:lnTo>
                      <a:lnTo>
                        <a:pt x="2762" y="925"/>
                      </a:lnTo>
                      <a:lnTo>
                        <a:pt x="2611" y="1013"/>
                      </a:lnTo>
                      <a:lnTo>
                        <a:pt x="2426" y="1019"/>
                      </a:lnTo>
                      <a:lnTo>
                        <a:pt x="2338" y="1034"/>
                      </a:lnTo>
                      <a:lnTo>
                        <a:pt x="2338" y="1065"/>
                      </a:lnTo>
                      <a:lnTo>
                        <a:pt x="2449" y="1071"/>
                      </a:lnTo>
                      <a:lnTo>
                        <a:pt x="2463" y="1071"/>
                      </a:lnTo>
                      <a:lnTo>
                        <a:pt x="2463" y="1090"/>
                      </a:lnTo>
                      <a:lnTo>
                        <a:pt x="2426" y="1125"/>
                      </a:lnTo>
                      <a:lnTo>
                        <a:pt x="2457" y="1194"/>
                      </a:lnTo>
                      <a:lnTo>
                        <a:pt x="2467" y="1201"/>
                      </a:lnTo>
                      <a:lnTo>
                        <a:pt x="2551" y="1128"/>
                      </a:lnTo>
                      <a:lnTo>
                        <a:pt x="2584" y="1178"/>
                      </a:lnTo>
                      <a:lnTo>
                        <a:pt x="2551" y="1207"/>
                      </a:lnTo>
                      <a:lnTo>
                        <a:pt x="2449" y="1261"/>
                      </a:lnTo>
                      <a:lnTo>
                        <a:pt x="2342" y="1280"/>
                      </a:lnTo>
                      <a:lnTo>
                        <a:pt x="2338" y="1276"/>
                      </a:lnTo>
                      <a:lnTo>
                        <a:pt x="2338" y="1261"/>
                      </a:lnTo>
                      <a:lnTo>
                        <a:pt x="2401" y="1226"/>
                      </a:lnTo>
                      <a:lnTo>
                        <a:pt x="2407" y="1221"/>
                      </a:lnTo>
                      <a:lnTo>
                        <a:pt x="2365" y="1201"/>
                      </a:lnTo>
                      <a:lnTo>
                        <a:pt x="2219" y="1276"/>
                      </a:lnTo>
                      <a:lnTo>
                        <a:pt x="2192" y="1340"/>
                      </a:lnTo>
                      <a:lnTo>
                        <a:pt x="2183" y="1370"/>
                      </a:lnTo>
                      <a:lnTo>
                        <a:pt x="2133" y="1380"/>
                      </a:lnTo>
                      <a:lnTo>
                        <a:pt x="2042" y="1393"/>
                      </a:lnTo>
                      <a:lnTo>
                        <a:pt x="2035" y="1457"/>
                      </a:lnTo>
                      <a:lnTo>
                        <a:pt x="2008" y="1497"/>
                      </a:lnTo>
                      <a:lnTo>
                        <a:pt x="2000" y="1507"/>
                      </a:lnTo>
                      <a:lnTo>
                        <a:pt x="1937" y="1507"/>
                      </a:lnTo>
                      <a:lnTo>
                        <a:pt x="1933" y="1547"/>
                      </a:lnTo>
                      <a:lnTo>
                        <a:pt x="1933" y="1560"/>
                      </a:lnTo>
                      <a:lnTo>
                        <a:pt x="1900" y="1547"/>
                      </a:lnTo>
                      <a:lnTo>
                        <a:pt x="1895" y="1606"/>
                      </a:lnTo>
                      <a:lnTo>
                        <a:pt x="1645" y="1835"/>
                      </a:lnTo>
                      <a:lnTo>
                        <a:pt x="1636" y="1856"/>
                      </a:lnTo>
                      <a:lnTo>
                        <a:pt x="1636" y="1894"/>
                      </a:lnTo>
                      <a:lnTo>
                        <a:pt x="1649" y="1963"/>
                      </a:lnTo>
                      <a:lnTo>
                        <a:pt x="1634" y="2071"/>
                      </a:lnTo>
                      <a:lnTo>
                        <a:pt x="1603" y="2071"/>
                      </a:lnTo>
                      <a:lnTo>
                        <a:pt x="1564" y="1969"/>
                      </a:lnTo>
                      <a:lnTo>
                        <a:pt x="1564" y="1865"/>
                      </a:lnTo>
                      <a:lnTo>
                        <a:pt x="1467" y="1856"/>
                      </a:lnTo>
                      <a:lnTo>
                        <a:pt x="1422" y="1825"/>
                      </a:lnTo>
                      <a:lnTo>
                        <a:pt x="1346" y="1839"/>
                      </a:lnTo>
                      <a:lnTo>
                        <a:pt x="1336" y="1848"/>
                      </a:lnTo>
                      <a:lnTo>
                        <a:pt x="1371" y="1915"/>
                      </a:lnTo>
                      <a:lnTo>
                        <a:pt x="1136" y="1875"/>
                      </a:lnTo>
                      <a:lnTo>
                        <a:pt x="1012" y="1961"/>
                      </a:lnTo>
                      <a:lnTo>
                        <a:pt x="944" y="2184"/>
                      </a:lnTo>
                      <a:lnTo>
                        <a:pt x="931" y="2209"/>
                      </a:lnTo>
                      <a:lnTo>
                        <a:pt x="935" y="2238"/>
                      </a:lnTo>
                      <a:lnTo>
                        <a:pt x="960" y="2301"/>
                      </a:lnTo>
                      <a:lnTo>
                        <a:pt x="977" y="2318"/>
                      </a:lnTo>
                      <a:lnTo>
                        <a:pt x="1031" y="2332"/>
                      </a:lnTo>
                      <a:lnTo>
                        <a:pt x="1136" y="2332"/>
                      </a:lnTo>
                      <a:lnTo>
                        <a:pt x="1192" y="2224"/>
                      </a:lnTo>
                      <a:lnTo>
                        <a:pt x="1317" y="2219"/>
                      </a:lnTo>
                      <a:lnTo>
                        <a:pt x="1332" y="2232"/>
                      </a:lnTo>
                      <a:lnTo>
                        <a:pt x="1319" y="2263"/>
                      </a:lnTo>
                      <a:lnTo>
                        <a:pt x="1332" y="2288"/>
                      </a:lnTo>
                      <a:lnTo>
                        <a:pt x="1332" y="2297"/>
                      </a:lnTo>
                      <a:lnTo>
                        <a:pt x="1277" y="2309"/>
                      </a:lnTo>
                      <a:lnTo>
                        <a:pt x="1271" y="2309"/>
                      </a:lnTo>
                      <a:lnTo>
                        <a:pt x="1261" y="2322"/>
                      </a:lnTo>
                      <a:lnTo>
                        <a:pt x="1248" y="2414"/>
                      </a:lnTo>
                      <a:lnTo>
                        <a:pt x="1242" y="2418"/>
                      </a:lnTo>
                      <a:lnTo>
                        <a:pt x="1332" y="2434"/>
                      </a:lnTo>
                      <a:lnTo>
                        <a:pt x="1421" y="2443"/>
                      </a:lnTo>
                      <a:lnTo>
                        <a:pt x="1371" y="2520"/>
                      </a:lnTo>
                      <a:lnTo>
                        <a:pt x="1421" y="2700"/>
                      </a:lnTo>
                      <a:lnTo>
                        <a:pt x="1470" y="2758"/>
                      </a:lnTo>
                      <a:lnTo>
                        <a:pt x="1476" y="2723"/>
                      </a:lnTo>
                      <a:lnTo>
                        <a:pt x="1476" y="2710"/>
                      </a:lnTo>
                      <a:lnTo>
                        <a:pt x="1624" y="2758"/>
                      </a:lnTo>
                      <a:lnTo>
                        <a:pt x="1628" y="2758"/>
                      </a:lnTo>
                      <a:lnTo>
                        <a:pt x="1634" y="2764"/>
                      </a:lnTo>
                      <a:lnTo>
                        <a:pt x="1705" y="2614"/>
                      </a:lnTo>
                      <a:lnTo>
                        <a:pt x="1854" y="2597"/>
                      </a:lnTo>
                      <a:lnTo>
                        <a:pt x="1868" y="2597"/>
                      </a:lnTo>
                      <a:lnTo>
                        <a:pt x="2000" y="2689"/>
                      </a:lnTo>
                      <a:lnTo>
                        <a:pt x="2211" y="2670"/>
                      </a:lnTo>
                      <a:lnTo>
                        <a:pt x="2227" y="2733"/>
                      </a:lnTo>
                      <a:lnTo>
                        <a:pt x="2227" y="2754"/>
                      </a:lnTo>
                      <a:lnTo>
                        <a:pt x="2282" y="2792"/>
                      </a:lnTo>
                      <a:lnTo>
                        <a:pt x="2376" y="2833"/>
                      </a:lnTo>
                      <a:lnTo>
                        <a:pt x="2584" y="2896"/>
                      </a:lnTo>
                      <a:lnTo>
                        <a:pt x="2637" y="3096"/>
                      </a:lnTo>
                      <a:lnTo>
                        <a:pt x="2678" y="3101"/>
                      </a:lnTo>
                      <a:lnTo>
                        <a:pt x="2687" y="3101"/>
                      </a:lnTo>
                      <a:lnTo>
                        <a:pt x="2687" y="3134"/>
                      </a:lnTo>
                      <a:lnTo>
                        <a:pt x="2697" y="3140"/>
                      </a:lnTo>
                      <a:lnTo>
                        <a:pt x="2804" y="3159"/>
                      </a:lnTo>
                      <a:lnTo>
                        <a:pt x="3219" y="3328"/>
                      </a:lnTo>
                      <a:lnTo>
                        <a:pt x="3219" y="3458"/>
                      </a:lnTo>
                      <a:lnTo>
                        <a:pt x="3148" y="3480"/>
                      </a:lnTo>
                      <a:lnTo>
                        <a:pt x="3096" y="3666"/>
                      </a:lnTo>
                      <a:lnTo>
                        <a:pt x="3096" y="3890"/>
                      </a:lnTo>
                      <a:lnTo>
                        <a:pt x="3012" y="4036"/>
                      </a:lnTo>
                      <a:lnTo>
                        <a:pt x="2937" y="4044"/>
                      </a:lnTo>
                      <a:lnTo>
                        <a:pt x="2816" y="4136"/>
                      </a:lnTo>
                      <a:lnTo>
                        <a:pt x="2812" y="4293"/>
                      </a:lnTo>
                      <a:lnTo>
                        <a:pt x="2762" y="4380"/>
                      </a:lnTo>
                      <a:lnTo>
                        <a:pt x="2757" y="4464"/>
                      </a:lnTo>
                      <a:lnTo>
                        <a:pt x="2693" y="4562"/>
                      </a:lnTo>
                      <a:lnTo>
                        <a:pt x="2593" y="4568"/>
                      </a:lnTo>
                      <a:lnTo>
                        <a:pt x="2590" y="4572"/>
                      </a:lnTo>
                      <a:lnTo>
                        <a:pt x="2637" y="4641"/>
                      </a:lnTo>
                      <a:lnTo>
                        <a:pt x="2478" y="4825"/>
                      </a:lnTo>
                      <a:lnTo>
                        <a:pt x="2463" y="4852"/>
                      </a:lnTo>
                      <a:lnTo>
                        <a:pt x="2463" y="5051"/>
                      </a:lnTo>
                      <a:lnTo>
                        <a:pt x="2534" y="5061"/>
                      </a:lnTo>
                      <a:lnTo>
                        <a:pt x="2551" y="5130"/>
                      </a:lnTo>
                      <a:lnTo>
                        <a:pt x="2534" y="5149"/>
                      </a:lnTo>
                      <a:lnTo>
                        <a:pt x="2584" y="5263"/>
                      </a:lnTo>
                      <a:lnTo>
                        <a:pt x="2697" y="5362"/>
                      </a:lnTo>
                      <a:lnTo>
                        <a:pt x="2762" y="5393"/>
                      </a:lnTo>
                      <a:lnTo>
                        <a:pt x="2693" y="5435"/>
                      </a:lnTo>
                      <a:lnTo>
                        <a:pt x="2463" y="5393"/>
                      </a:lnTo>
                      <a:lnTo>
                        <a:pt x="2305" y="5199"/>
                      </a:lnTo>
                      <a:lnTo>
                        <a:pt x="2213" y="5055"/>
                      </a:lnTo>
                      <a:lnTo>
                        <a:pt x="2213" y="4942"/>
                      </a:lnTo>
                      <a:lnTo>
                        <a:pt x="2127" y="4748"/>
                      </a:lnTo>
                      <a:lnTo>
                        <a:pt x="2004" y="4000"/>
                      </a:lnTo>
                      <a:lnTo>
                        <a:pt x="1914" y="3890"/>
                      </a:lnTo>
                      <a:lnTo>
                        <a:pt x="1778" y="3758"/>
                      </a:lnTo>
                      <a:lnTo>
                        <a:pt x="1476" y="3364"/>
                      </a:lnTo>
                      <a:lnTo>
                        <a:pt x="1541" y="3272"/>
                      </a:lnTo>
                      <a:lnTo>
                        <a:pt x="1528" y="3263"/>
                      </a:lnTo>
                      <a:lnTo>
                        <a:pt x="1478" y="3253"/>
                      </a:lnTo>
                      <a:lnTo>
                        <a:pt x="1478" y="3242"/>
                      </a:lnTo>
                      <a:lnTo>
                        <a:pt x="1653" y="2969"/>
                      </a:lnTo>
                      <a:lnTo>
                        <a:pt x="1603" y="2796"/>
                      </a:lnTo>
                      <a:lnTo>
                        <a:pt x="1603" y="2792"/>
                      </a:lnTo>
                      <a:lnTo>
                        <a:pt x="1593" y="2783"/>
                      </a:lnTo>
                      <a:lnTo>
                        <a:pt x="1526" y="2787"/>
                      </a:lnTo>
                      <a:lnTo>
                        <a:pt x="1488" y="2802"/>
                      </a:lnTo>
                      <a:lnTo>
                        <a:pt x="1463" y="2796"/>
                      </a:lnTo>
                      <a:lnTo>
                        <a:pt x="1323" y="2720"/>
                      </a:lnTo>
                      <a:lnTo>
                        <a:pt x="1021" y="2474"/>
                      </a:lnTo>
                      <a:lnTo>
                        <a:pt x="918" y="2437"/>
                      </a:lnTo>
                      <a:lnTo>
                        <a:pt x="735" y="2332"/>
                      </a:lnTo>
                      <a:lnTo>
                        <a:pt x="670" y="2245"/>
                      </a:lnTo>
                      <a:lnTo>
                        <a:pt x="666" y="2242"/>
                      </a:lnTo>
                      <a:lnTo>
                        <a:pt x="666" y="2232"/>
                      </a:lnTo>
                      <a:lnTo>
                        <a:pt x="670" y="2232"/>
                      </a:lnTo>
                      <a:lnTo>
                        <a:pt x="680" y="2224"/>
                      </a:lnTo>
                      <a:lnTo>
                        <a:pt x="635" y="2046"/>
                      </a:lnTo>
                      <a:lnTo>
                        <a:pt x="607" y="1958"/>
                      </a:lnTo>
                      <a:lnTo>
                        <a:pt x="566" y="1850"/>
                      </a:lnTo>
                      <a:lnTo>
                        <a:pt x="545" y="1775"/>
                      </a:lnTo>
                      <a:lnTo>
                        <a:pt x="536" y="1766"/>
                      </a:lnTo>
                      <a:lnTo>
                        <a:pt x="493" y="1766"/>
                      </a:lnTo>
                      <a:lnTo>
                        <a:pt x="493" y="1781"/>
                      </a:lnTo>
                      <a:lnTo>
                        <a:pt x="539" y="1856"/>
                      </a:lnTo>
                      <a:lnTo>
                        <a:pt x="545" y="2055"/>
                      </a:lnTo>
                      <a:lnTo>
                        <a:pt x="559" y="2115"/>
                      </a:lnTo>
                      <a:lnTo>
                        <a:pt x="559" y="2125"/>
                      </a:lnTo>
                      <a:lnTo>
                        <a:pt x="539" y="2125"/>
                      </a:lnTo>
                      <a:lnTo>
                        <a:pt x="476" y="1988"/>
                      </a:lnTo>
                      <a:lnTo>
                        <a:pt x="434" y="1919"/>
                      </a:lnTo>
                      <a:lnTo>
                        <a:pt x="455" y="1894"/>
                      </a:lnTo>
                      <a:lnTo>
                        <a:pt x="468" y="1879"/>
                      </a:lnTo>
                      <a:lnTo>
                        <a:pt x="451" y="1829"/>
                      </a:lnTo>
                      <a:lnTo>
                        <a:pt x="451" y="1645"/>
                      </a:lnTo>
                      <a:lnTo>
                        <a:pt x="401" y="1581"/>
                      </a:lnTo>
                      <a:lnTo>
                        <a:pt x="434" y="1315"/>
                      </a:lnTo>
                      <a:lnTo>
                        <a:pt x="553" y="1173"/>
                      </a:lnTo>
                      <a:lnTo>
                        <a:pt x="645" y="1071"/>
                      </a:lnTo>
                      <a:lnTo>
                        <a:pt x="645" y="998"/>
                      </a:lnTo>
                      <a:lnTo>
                        <a:pt x="662" y="998"/>
                      </a:lnTo>
                      <a:lnTo>
                        <a:pt x="680" y="1013"/>
                      </a:lnTo>
                      <a:lnTo>
                        <a:pt x="726" y="1013"/>
                      </a:lnTo>
                      <a:lnTo>
                        <a:pt x="726" y="992"/>
                      </a:lnTo>
                      <a:lnTo>
                        <a:pt x="666" y="850"/>
                      </a:lnTo>
                      <a:lnTo>
                        <a:pt x="718" y="889"/>
                      </a:lnTo>
                      <a:lnTo>
                        <a:pt x="731" y="900"/>
                      </a:lnTo>
                      <a:lnTo>
                        <a:pt x="751" y="549"/>
                      </a:lnTo>
                      <a:lnTo>
                        <a:pt x="680" y="545"/>
                      </a:lnTo>
                      <a:lnTo>
                        <a:pt x="680" y="472"/>
                      </a:lnTo>
                      <a:lnTo>
                        <a:pt x="576" y="432"/>
                      </a:lnTo>
                      <a:lnTo>
                        <a:pt x="447" y="451"/>
                      </a:lnTo>
                      <a:lnTo>
                        <a:pt x="434" y="451"/>
                      </a:lnTo>
                      <a:lnTo>
                        <a:pt x="447" y="426"/>
                      </a:lnTo>
                      <a:lnTo>
                        <a:pt x="447" y="422"/>
                      </a:lnTo>
                      <a:lnTo>
                        <a:pt x="420" y="422"/>
                      </a:lnTo>
                      <a:lnTo>
                        <a:pt x="65" y="545"/>
                      </a:lnTo>
                      <a:lnTo>
                        <a:pt x="0" y="545"/>
                      </a:lnTo>
                      <a:lnTo>
                        <a:pt x="234" y="436"/>
                      </a:lnTo>
                      <a:lnTo>
                        <a:pt x="290" y="344"/>
                      </a:lnTo>
                      <a:lnTo>
                        <a:pt x="290" y="340"/>
                      </a:lnTo>
                      <a:lnTo>
                        <a:pt x="209" y="320"/>
                      </a:lnTo>
                      <a:lnTo>
                        <a:pt x="294" y="226"/>
                      </a:lnTo>
                      <a:lnTo>
                        <a:pt x="388" y="242"/>
                      </a:lnTo>
                      <a:lnTo>
                        <a:pt x="409" y="242"/>
                      </a:lnTo>
                      <a:lnTo>
                        <a:pt x="430" y="228"/>
                      </a:lnTo>
                      <a:lnTo>
                        <a:pt x="409" y="211"/>
                      </a:lnTo>
                      <a:lnTo>
                        <a:pt x="369" y="194"/>
                      </a:lnTo>
                      <a:lnTo>
                        <a:pt x="369" y="175"/>
                      </a:lnTo>
                      <a:lnTo>
                        <a:pt x="395" y="138"/>
                      </a:lnTo>
                      <a:lnTo>
                        <a:pt x="405" y="129"/>
                      </a:lnTo>
                      <a:lnTo>
                        <a:pt x="553" y="134"/>
                      </a:lnTo>
                      <a:lnTo>
                        <a:pt x="562" y="125"/>
                      </a:lnTo>
                      <a:lnTo>
                        <a:pt x="576" y="59"/>
                      </a:lnTo>
                      <a:lnTo>
                        <a:pt x="708" y="25"/>
                      </a:lnTo>
                      <a:lnTo>
                        <a:pt x="787" y="0"/>
                      </a:lnTo>
                      <a:lnTo>
                        <a:pt x="998" y="2"/>
                      </a:lnTo>
                      <a:lnTo>
                        <a:pt x="1196" y="75"/>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62" name="Freeform 177"/>
                <p:cNvSpPr>
                  <a:spLocks/>
                </p:cNvSpPr>
                <p:nvPr/>
              </p:nvSpPr>
              <p:spPr bwMode="gray">
                <a:xfrm>
                  <a:off x="4922878" y="1790038"/>
                  <a:ext cx="4348219" cy="3714750"/>
                </a:xfrm>
                <a:custGeom>
                  <a:avLst/>
                  <a:gdLst>
                    <a:gd name="T0" fmla="*/ 956 w 5476"/>
                    <a:gd name="T1" fmla="*/ 43 h 4679"/>
                    <a:gd name="T2" fmla="*/ 1366 w 5476"/>
                    <a:gd name="T3" fmla="*/ 29 h 4679"/>
                    <a:gd name="T4" fmla="*/ 1321 w 5476"/>
                    <a:gd name="T5" fmla="*/ 66 h 4679"/>
                    <a:gd name="T6" fmla="*/ 1308 w 5476"/>
                    <a:gd name="T7" fmla="*/ 103 h 4679"/>
                    <a:gd name="T8" fmla="*/ 1336 w 5476"/>
                    <a:gd name="T9" fmla="*/ 166 h 4679"/>
                    <a:gd name="T10" fmla="*/ 1242 w 5476"/>
                    <a:gd name="T11" fmla="*/ 100 h 4679"/>
                    <a:gd name="T12" fmla="*/ 1205 w 5476"/>
                    <a:gd name="T13" fmla="*/ 141 h 4679"/>
                    <a:gd name="T14" fmla="*/ 1223 w 5476"/>
                    <a:gd name="T15" fmla="*/ 212 h 4679"/>
                    <a:gd name="T16" fmla="*/ 1242 w 5476"/>
                    <a:gd name="T17" fmla="*/ 234 h 4679"/>
                    <a:gd name="T18" fmla="*/ 1216 w 5476"/>
                    <a:gd name="T19" fmla="*/ 325 h 4679"/>
                    <a:gd name="T20" fmla="*/ 1217 w 5476"/>
                    <a:gd name="T21" fmla="*/ 383 h 4679"/>
                    <a:gd name="T22" fmla="*/ 1163 w 5476"/>
                    <a:gd name="T23" fmla="*/ 354 h 4679"/>
                    <a:gd name="T24" fmla="*/ 1177 w 5476"/>
                    <a:gd name="T25" fmla="*/ 399 h 4679"/>
                    <a:gd name="T26" fmla="*/ 1215 w 5476"/>
                    <a:gd name="T27" fmla="*/ 464 h 4679"/>
                    <a:gd name="T28" fmla="*/ 1150 w 5476"/>
                    <a:gd name="T29" fmla="*/ 590 h 4679"/>
                    <a:gd name="T30" fmla="*/ 1114 w 5476"/>
                    <a:gd name="T31" fmla="*/ 591 h 4679"/>
                    <a:gd name="T32" fmla="*/ 1088 w 5476"/>
                    <a:gd name="T33" fmla="*/ 658 h 4679"/>
                    <a:gd name="T34" fmla="*/ 1121 w 5476"/>
                    <a:gd name="T35" fmla="*/ 767 h 4679"/>
                    <a:gd name="T36" fmla="*/ 1046 w 5476"/>
                    <a:gd name="T37" fmla="*/ 646 h 4679"/>
                    <a:gd name="T38" fmla="*/ 926 w 5476"/>
                    <a:gd name="T39" fmla="*/ 595 h 4679"/>
                    <a:gd name="T40" fmla="*/ 848 w 5476"/>
                    <a:gd name="T41" fmla="*/ 683 h 4679"/>
                    <a:gd name="T42" fmla="*/ 743 w 5476"/>
                    <a:gd name="T43" fmla="*/ 546 h 4679"/>
                    <a:gd name="T44" fmla="*/ 609 w 5476"/>
                    <a:gd name="T45" fmla="*/ 546 h 4679"/>
                    <a:gd name="T46" fmla="*/ 679 w 5476"/>
                    <a:gd name="T47" fmla="*/ 600 h 4679"/>
                    <a:gd name="T48" fmla="*/ 480 w 5476"/>
                    <a:gd name="T49" fmla="*/ 562 h 4679"/>
                    <a:gd name="T50" fmla="*/ 482 w 5476"/>
                    <a:gd name="T51" fmla="*/ 616 h 4679"/>
                    <a:gd name="T52" fmla="*/ 601 w 5476"/>
                    <a:gd name="T53" fmla="*/ 734 h 4679"/>
                    <a:gd name="T54" fmla="*/ 535 w 5476"/>
                    <a:gd name="T55" fmla="*/ 964 h 4679"/>
                    <a:gd name="T56" fmla="*/ 381 w 5476"/>
                    <a:gd name="T57" fmla="*/ 1170 h 4679"/>
                    <a:gd name="T58" fmla="*/ 282 w 5476"/>
                    <a:gd name="T59" fmla="*/ 926 h 4679"/>
                    <a:gd name="T60" fmla="*/ 176 w 5476"/>
                    <a:gd name="T61" fmla="*/ 752 h 4679"/>
                    <a:gd name="T62" fmla="*/ 5 w 5476"/>
                    <a:gd name="T63" fmla="*/ 652 h 4679"/>
                    <a:gd name="T64" fmla="*/ 76 w 5476"/>
                    <a:gd name="T65" fmla="*/ 482 h 4679"/>
                    <a:gd name="T66" fmla="*/ 245 w 5476"/>
                    <a:gd name="T67" fmla="*/ 451 h 4679"/>
                    <a:gd name="T68" fmla="*/ 332 w 5476"/>
                    <a:gd name="T69" fmla="*/ 486 h 4679"/>
                    <a:gd name="T70" fmla="*/ 407 w 5476"/>
                    <a:gd name="T71" fmla="*/ 513 h 4679"/>
                    <a:gd name="T72" fmla="*/ 426 w 5476"/>
                    <a:gd name="T73" fmla="*/ 451 h 4679"/>
                    <a:gd name="T74" fmla="*/ 447 w 5476"/>
                    <a:gd name="T75" fmla="*/ 381 h 4679"/>
                    <a:gd name="T76" fmla="*/ 456 w 5476"/>
                    <a:gd name="T77" fmla="*/ 359 h 4679"/>
                    <a:gd name="T78" fmla="*/ 379 w 5476"/>
                    <a:gd name="T79" fmla="*/ 379 h 4679"/>
                    <a:gd name="T80" fmla="*/ 350 w 5476"/>
                    <a:gd name="T81" fmla="*/ 446 h 4679"/>
                    <a:gd name="T82" fmla="*/ 259 w 5476"/>
                    <a:gd name="T83" fmla="*/ 379 h 4679"/>
                    <a:gd name="T84" fmla="*/ 251 w 5476"/>
                    <a:gd name="T85" fmla="*/ 399 h 4679"/>
                    <a:gd name="T86" fmla="*/ 125 w 5476"/>
                    <a:gd name="T87" fmla="*/ 451 h 4679"/>
                    <a:gd name="T88" fmla="*/ 136 w 5476"/>
                    <a:gd name="T89" fmla="*/ 381 h 4679"/>
                    <a:gd name="T90" fmla="*/ 225 w 5476"/>
                    <a:gd name="T91" fmla="*/ 264 h 4679"/>
                    <a:gd name="T92" fmla="*/ 287 w 5476"/>
                    <a:gd name="T93" fmla="*/ 276 h 4679"/>
                    <a:gd name="T94" fmla="*/ 351 w 5476"/>
                    <a:gd name="T95" fmla="*/ 214 h 4679"/>
                    <a:gd name="T96" fmla="*/ 331 w 5476"/>
                    <a:gd name="T97" fmla="*/ 165 h 4679"/>
                    <a:gd name="T98" fmla="*/ 279 w 5476"/>
                    <a:gd name="T99" fmla="*/ 241 h 4679"/>
                    <a:gd name="T100" fmla="*/ 198 w 5476"/>
                    <a:gd name="T101" fmla="*/ 217 h 4679"/>
                    <a:gd name="T102" fmla="*/ 357 w 5476"/>
                    <a:gd name="T103" fmla="*/ 98 h 4679"/>
                    <a:gd name="T104" fmla="*/ 400 w 5476"/>
                    <a:gd name="T105" fmla="*/ 145 h 4679"/>
                    <a:gd name="T106" fmla="*/ 531 w 5476"/>
                    <a:gd name="T107" fmla="*/ 112 h 4679"/>
                    <a:gd name="T108" fmla="*/ 592 w 5476"/>
                    <a:gd name="T109" fmla="*/ 67 h 4679"/>
                    <a:gd name="T110" fmla="*/ 654 w 5476"/>
                    <a:gd name="T111" fmla="*/ 105 h 4679"/>
                    <a:gd name="T112" fmla="*/ 654 w 5476"/>
                    <a:gd name="T113" fmla="*/ 67 h 4679"/>
                    <a:gd name="T114" fmla="*/ 767 w 5476"/>
                    <a:gd name="T115" fmla="*/ 5 h 46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476"/>
                    <a:gd name="T175" fmla="*/ 0 h 4679"/>
                    <a:gd name="T176" fmla="*/ 5476 w 5476"/>
                    <a:gd name="T177" fmla="*/ 4679 h 46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476" h="4679">
                      <a:moveTo>
                        <a:pt x="3288" y="40"/>
                      </a:moveTo>
                      <a:lnTo>
                        <a:pt x="3301" y="99"/>
                      </a:lnTo>
                      <a:lnTo>
                        <a:pt x="3301" y="103"/>
                      </a:lnTo>
                      <a:lnTo>
                        <a:pt x="3307" y="113"/>
                      </a:lnTo>
                      <a:lnTo>
                        <a:pt x="3666" y="109"/>
                      </a:lnTo>
                      <a:lnTo>
                        <a:pt x="3743" y="94"/>
                      </a:lnTo>
                      <a:lnTo>
                        <a:pt x="3821" y="172"/>
                      </a:lnTo>
                      <a:lnTo>
                        <a:pt x="4046" y="113"/>
                      </a:lnTo>
                      <a:lnTo>
                        <a:pt x="4063" y="94"/>
                      </a:lnTo>
                      <a:lnTo>
                        <a:pt x="4171" y="80"/>
                      </a:lnTo>
                      <a:lnTo>
                        <a:pt x="4286" y="80"/>
                      </a:lnTo>
                      <a:lnTo>
                        <a:pt x="4823" y="113"/>
                      </a:lnTo>
                      <a:lnTo>
                        <a:pt x="4973" y="76"/>
                      </a:lnTo>
                      <a:lnTo>
                        <a:pt x="5461" y="113"/>
                      </a:lnTo>
                      <a:lnTo>
                        <a:pt x="5476" y="174"/>
                      </a:lnTo>
                      <a:lnTo>
                        <a:pt x="5476" y="190"/>
                      </a:lnTo>
                      <a:lnTo>
                        <a:pt x="5392" y="190"/>
                      </a:lnTo>
                      <a:lnTo>
                        <a:pt x="5374" y="172"/>
                      </a:lnTo>
                      <a:lnTo>
                        <a:pt x="5286" y="190"/>
                      </a:lnTo>
                      <a:lnTo>
                        <a:pt x="5280" y="253"/>
                      </a:lnTo>
                      <a:lnTo>
                        <a:pt x="5280" y="262"/>
                      </a:lnTo>
                      <a:lnTo>
                        <a:pt x="5359" y="266"/>
                      </a:lnTo>
                      <a:lnTo>
                        <a:pt x="5369" y="295"/>
                      </a:lnTo>
                      <a:lnTo>
                        <a:pt x="5336" y="378"/>
                      </a:lnTo>
                      <a:lnTo>
                        <a:pt x="5353" y="408"/>
                      </a:lnTo>
                      <a:lnTo>
                        <a:pt x="5294" y="452"/>
                      </a:lnTo>
                      <a:lnTo>
                        <a:pt x="5267" y="468"/>
                      </a:lnTo>
                      <a:lnTo>
                        <a:pt x="5230" y="412"/>
                      </a:lnTo>
                      <a:lnTo>
                        <a:pt x="5182" y="451"/>
                      </a:lnTo>
                      <a:lnTo>
                        <a:pt x="5234" y="472"/>
                      </a:lnTo>
                      <a:lnTo>
                        <a:pt x="5263" y="504"/>
                      </a:lnTo>
                      <a:lnTo>
                        <a:pt x="5263" y="558"/>
                      </a:lnTo>
                      <a:lnTo>
                        <a:pt x="5273" y="566"/>
                      </a:lnTo>
                      <a:lnTo>
                        <a:pt x="5332" y="579"/>
                      </a:lnTo>
                      <a:lnTo>
                        <a:pt x="5340" y="662"/>
                      </a:lnTo>
                      <a:lnTo>
                        <a:pt x="5369" y="677"/>
                      </a:lnTo>
                      <a:lnTo>
                        <a:pt x="5369" y="771"/>
                      </a:lnTo>
                      <a:lnTo>
                        <a:pt x="5259" y="748"/>
                      </a:lnTo>
                      <a:lnTo>
                        <a:pt x="5092" y="604"/>
                      </a:lnTo>
                      <a:lnTo>
                        <a:pt x="5140" y="452"/>
                      </a:lnTo>
                      <a:lnTo>
                        <a:pt x="5075" y="397"/>
                      </a:lnTo>
                      <a:lnTo>
                        <a:pt x="4964" y="397"/>
                      </a:lnTo>
                      <a:lnTo>
                        <a:pt x="4935" y="412"/>
                      </a:lnTo>
                      <a:lnTo>
                        <a:pt x="4931" y="504"/>
                      </a:lnTo>
                      <a:lnTo>
                        <a:pt x="4950" y="506"/>
                      </a:lnTo>
                      <a:lnTo>
                        <a:pt x="4964" y="506"/>
                      </a:lnTo>
                      <a:lnTo>
                        <a:pt x="4964" y="545"/>
                      </a:lnTo>
                      <a:lnTo>
                        <a:pt x="4839" y="545"/>
                      </a:lnTo>
                      <a:lnTo>
                        <a:pt x="4816" y="564"/>
                      </a:lnTo>
                      <a:lnTo>
                        <a:pt x="4704" y="564"/>
                      </a:lnTo>
                      <a:lnTo>
                        <a:pt x="4695" y="662"/>
                      </a:lnTo>
                      <a:lnTo>
                        <a:pt x="4635" y="742"/>
                      </a:lnTo>
                      <a:lnTo>
                        <a:pt x="4632" y="748"/>
                      </a:lnTo>
                      <a:lnTo>
                        <a:pt x="4789" y="752"/>
                      </a:lnTo>
                      <a:lnTo>
                        <a:pt x="4862" y="846"/>
                      </a:lnTo>
                      <a:lnTo>
                        <a:pt x="4891" y="846"/>
                      </a:lnTo>
                      <a:lnTo>
                        <a:pt x="4895" y="752"/>
                      </a:lnTo>
                      <a:lnTo>
                        <a:pt x="4964" y="877"/>
                      </a:lnTo>
                      <a:lnTo>
                        <a:pt x="5131" y="1021"/>
                      </a:lnTo>
                      <a:lnTo>
                        <a:pt x="5136" y="1030"/>
                      </a:lnTo>
                      <a:lnTo>
                        <a:pt x="5140" y="1030"/>
                      </a:lnTo>
                      <a:lnTo>
                        <a:pt x="5092" y="1053"/>
                      </a:lnTo>
                      <a:lnTo>
                        <a:pt x="4964" y="936"/>
                      </a:lnTo>
                      <a:lnTo>
                        <a:pt x="4935" y="871"/>
                      </a:lnTo>
                      <a:lnTo>
                        <a:pt x="4935" y="963"/>
                      </a:lnTo>
                      <a:lnTo>
                        <a:pt x="4967" y="1017"/>
                      </a:lnTo>
                      <a:lnTo>
                        <a:pt x="4977" y="1080"/>
                      </a:lnTo>
                      <a:lnTo>
                        <a:pt x="5002" y="1222"/>
                      </a:lnTo>
                      <a:lnTo>
                        <a:pt x="4946" y="1297"/>
                      </a:lnTo>
                      <a:lnTo>
                        <a:pt x="4862" y="1297"/>
                      </a:lnTo>
                      <a:lnTo>
                        <a:pt x="4848" y="1351"/>
                      </a:lnTo>
                      <a:lnTo>
                        <a:pt x="4845" y="1402"/>
                      </a:lnTo>
                      <a:lnTo>
                        <a:pt x="4839" y="1404"/>
                      </a:lnTo>
                      <a:lnTo>
                        <a:pt x="5002" y="1575"/>
                      </a:lnTo>
                      <a:lnTo>
                        <a:pt x="4935" y="1635"/>
                      </a:lnTo>
                      <a:lnTo>
                        <a:pt x="4891" y="1589"/>
                      </a:lnTo>
                      <a:lnTo>
                        <a:pt x="4866" y="1531"/>
                      </a:lnTo>
                      <a:lnTo>
                        <a:pt x="4852" y="1516"/>
                      </a:lnTo>
                      <a:lnTo>
                        <a:pt x="4793" y="1504"/>
                      </a:lnTo>
                      <a:lnTo>
                        <a:pt x="4754" y="1449"/>
                      </a:lnTo>
                      <a:lnTo>
                        <a:pt x="4704" y="1481"/>
                      </a:lnTo>
                      <a:lnTo>
                        <a:pt x="4681" y="1449"/>
                      </a:lnTo>
                      <a:lnTo>
                        <a:pt x="4681" y="1433"/>
                      </a:lnTo>
                      <a:lnTo>
                        <a:pt x="4649" y="1414"/>
                      </a:lnTo>
                      <a:lnTo>
                        <a:pt x="4632" y="1410"/>
                      </a:lnTo>
                      <a:lnTo>
                        <a:pt x="4593" y="1481"/>
                      </a:lnTo>
                      <a:lnTo>
                        <a:pt x="4593" y="1516"/>
                      </a:lnTo>
                      <a:lnTo>
                        <a:pt x="4639" y="1535"/>
                      </a:lnTo>
                      <a:lnTo>
                        <a:pt x="4751" y="1539"/>
                      </a:lnTo>
                      <a:lnTo>
                        <a:pt x="4751" y="1594"/>
                      </a:lnTo>
                      <a:lnTo>
                        <a:pt x="4704" y="1594"/>
                      </a:lnTo>
                      <a:lnTo>
                        <a:pt x="4701" y="1658"/>
                      </a:lnTo>
                      <a:lnTo>
                        <a:pt x="4701" y="1667"/>
                      </a:lnTo>
                      <a:lnTo>
                        <a:pt x="4760" y="1677"/>
                      </a:lnTo>
                      <a:lnTo>
                        <a:pt x="4852" y="1794"/>
                      </a:lnTo>
                      <a:lnTo>
                        <a:pt x="4858" y="1796"/>
                      </a:lnTo>
                      <a:lnTo>
                        <a:pt x="4810" y="1806"/>
                      </a:lnTo>
                      <a:lnTo>
                        <a:pt x="4858" y="1855"/>
                      </a:lnTo>
                      <a:lnTo>
                        <a:pt x="4806" y="2139"/>
                      </a:lnTo>
                      <a:lnTo>
                        <a:pt x="4632" y="2235"/>
                      </a:lnTo>
                      <a:lnTo>
                        <a:pt x="4597" y="2203"/>
                      </a:lnTo>
                      <a:lnTo>
                        <a:pt x="4593" y="2197"/>
                      </a:lnTo>
                      <a:lnTo>
                        <a:pt x="4576" y="2230"/>
                      </a:lnTo>
                      <a:lnTo>
                        <a:pt x="4626" y="2295"/>
                      </a:lnTo>
                      <a:lnTo>
                        <a:pt x="4597" y="2360"/>
                      </a:lnTo>
                      <a:lnTo>
                        <a:pt x="4580" y="2360"/>
                      </a:lnTo>
                      <a:lnTo>
                        <a:pt x="4561" y="2349"/>
                      </a:lnTo>
                      <a:lnTo>
                        <a:pt x="4576" y="2251"/>
                      </a:lnTo>
                      <a:lnTo>
                        <a:pt x="4561" y="2235"/>
                      </a:lnTo>
                      <a:lnTo>
                        <a:pt x="4474" y="2235"/>
                      </a:lnTo>
                      <a:lnTo>
                        <a:pt x="4465" y="2247"/>
                      </a:lnTo>
                      <a:lnTo>
                        <a:pt x="4453" y="2364"/>
                      </a:lnTo>
                      <a:lnTo>
                        <a:pt x="4593" y="2537"/>
                      </a:lnTo>
                      <a:lnTo>
                        <a:pt x="4593" y="2667"/>
                      </a:lnTo>
                      <a:lnTo>
                        <a:pt x="4488" y="2744"/>
                      </a:lnTo>
                      <a:lnTo>
                        <a:pt x="4401" y="2667"/>
                      </a:lnTo>
                      <a:lnTo>
                        <a:pt x="4388" y="2635"/>
                      </a:lnTo>
                      <a:lnTo>
                        <a:pt x="4361" y="2631"/>
                      </a:lnTo>
                      <a:lnTo>
                        <a:pt x="4349" y="2631"/>
                      </a:lnTo>
                      <a:lnTo>
                        <a:pt x="4280" y="2542"/>
                      </a:lnTo>
                      <a:lnTo>
                        <a:pt x="4280" y="2625"/>
                      </a:lnTo>
                      <a:lnTo>
                        <a:pt x="4294" y="2761"/>
                      </a:lnTo>
                      <a:lnTo>
                        <a:pt x="4294" y="2798"/>
                      </a:lnTo>
                      <a:lnTo>
                        <a:pt x="4415" y="2919"/>
                      </a:lnTo>
                      <a:lnTo>
                        <a:pt x="4465" y="2947"/>
                      </a:lnTo>
                      <a:lnTo>
                        <a:pt x="4482" y="3065"/>
                      </a:lnTo>
                      <a:lnTo>
                        <a:pt x="4488" y="3080"/>
                      </a:lnTo>
                      <a:lnTo>
                        <a:pt x="4465" y="3084"/>
                      </a:lnTo>
                      <a:lnTo>
                        <a:pt x="4453" y="3084"/>
                      </a:lnTo>
                      <a:lnTo>
                        <a:pt x="4346" y="2898"/>
                      </a:lnTo>
                      <a:lnTo>
                        <a:pt x="4276" y="2798"/>
                      </a:lnTo>
                      <a:lnTo>
                        <a:pt x="4192" y="2744"/>
                      </a:lnTo>
                      <a:lnTo>
                        <a:pt x="4182" y="2581"/>
                      </a:lnTo>
                      <a:lnTo>
                        <a:pt x="4171" y="2533"/>
                      </a:lnTo>
                      <a:lnTo>
                        <a:pt x="4171" y="2483"/>
                      </a:lnTo>
                      <a:lnTo>
                        <a:pt x="4063" y="2477"/>
                      </a:lnTo>
                      <a:lnTo>
                        <a:pt x="3962" y="2299"/>
                      </a:lnTo>
                      <a:lnTo>
                        <a:pt x="3893" y="2257"/>
                      </a:lnTo>
                      <a:lnTo>
                        <a:pt x="3846" y="2280"/>
                      </a:lnTo>
                      <a:lnTo>
                        <a:pt x="3701" y="2379"/>
                      </a:lnTo>
                      <a:lnTo>
                        <a:pt x="3566" y="2537"/>
                      </a:lnTo>
                      <a:lnTo>
                        <a:pt x="3487" y="2828"/>
                      </a:lnTo>
                      <a:lnTo>
                        <a:pt x="3464" y="2884"/>
                      </a:lnTo>
                      <a:lnTo>
                        <a:pt x="3464" y="2888"/>
                      </a:lnTo>
                      <a:lnTo>
                        <a:pt x="3418" y="2834"/>
                      </a:lnTo>
                      <a:lnTo>
                        <a:pt x="3393" y="2794"/>
                      </a:lnTo>
                      <a:lnTo>
                        <a:pt x="3390" y="2731"/>
                      </a:lnTo>
                      <a:lnTo>
                        <a:pt x="3288" y="2537"/>
                      </a:lnTo>
                      <a:lnTo>
                        <a:pt x="3284" y="2433"/>
                      </a:lnTo>
                      <a:lnTo>
                        <a:pt x="3219" y="2333"/>
                      </a:lnTo>
                      <a:lnTo>
                        <a:pt x="3201" y="2333"/>
                      </a:lnTo>
                      <a:lnTo>
                        <a:pt x="3173" y="2349"/>
                      </a:lnTo>
                      <a:lnTo>
                        <a:pt x="3159" y="2349"/>
                      </a:lnTo>
                      <a:lnTo>
                        <a:pt x="2971" y="2182"/>
                      </a:lnTo>
                      <a:lnTo>
                        <a:pt x="2804" y="2197"/>
                      </a:lnTo>
                      <a:lnTo>
                        <a:pt x="2595" y="2139"/>
                      </a:lnTo>
                      <a:lnTo>
                        <a:pt x="2507" y="2157"/>
                      </a:lnTo>
                      <a:lnTo>
                        <a:pt x="2334" y="1992"/>
                      </a:lnTo>
                      <a:lnTo>
                        <a:pt x="2261" y="2049"/>
                      </a:lnTo>
                      <a:lnTo>
                        <a:pt x="2299" y="2143"/>
                      </a:lnTo>
                      <a:lnTo>
                        <a:pt x="2434" y="2182"/>
                      </a:lnTo>
                      <a:lnTo>
                        <a:pt x="2434" y="2230"/>
                      </a:lnTo>
                      <a:lnTo>
                        <a:pt x="2466" y="2247"/>
                      </a:lnTo>
                      <a:lnTo>
                        <a:pt x="2503" y="2247"/>
                      </a:lnTo>
                      <a:lnTo>
                        <a:pt x="2595" y="2182"/>
                      </a:lnTo>
                      <a:lnTo>
                        <a:pt x="2616" y="2239"/>
                      </a:lnTo>
                      <a:lnTo>
                        <a:pt x="2716" y="2289"/>
                      </a:lnTo>
                      <a:lnTo>
                        <a:pt x="2716" y="2399"/>
                      </a:lnTo>
                      <a:lnTo>
                        <a:pt x="2685" y="2443"/>
                      </a:lnTo>
                      <a:lnTo>
                        <a:pt x="2685" y="2462"/>
                      </a:lnTo>
                      <a:lnTo>
                        <a:pt x="2299" y="2702"/>
                      </a:lnTo>
                      <a:lnTo>
                        <a:pt x="2228" y="2702"/>
                      </a:lnTo>
                      <a:lnTo>
                        <a:pt x="2186" y="2600"/>
                      </a:lnTo>
                      <a:lnTo>
                        <a:pt x="1985" y="2316"/>
                      </a:lnTo>
                      <a:lnTo>
                        <a:pt x="1917" y="2247"/>
                      </a:lnTo>
                      <a:lnTo>
                        <a:pt x="1894" y="2239"/>
                      </a:lnTo>
                      <a:lnTo>
                        <a:pt x="1789" y="2109"/>
                      </a:lnTo>
                      <a:lnTo>
                        <a:pt x="1789" y="2126"/>
                      </a:lnTo>
                      <a:lnTo>
                        <a:pt x="1835" y="2257"/>
                      </a:lnTo>
                      <a:lnTo>
                        <a:pt x="1917" y="2379"/>
                      </a:lnTo>
                      <a:lnTo>
                        <a:pt x="1927" y="2389"/>
                      </a:lnTo>
                      <a:lnTo>
                        <a:pt x="1927" y="2462"/>
                      </a:lnTo>
                      <a:lnTo>
                        <a:pt x="2180" y="2725"/>
                      </a:lnTo>
                      <a:lnTo>
                        <a:pt x="2261" y="2798"/>
                      </a:lnTo>
                      <a:lnTo>
                        <a:pt x="2317" y="2794"/>
                      </a:lnTo>
                      <a:lnTo>
                        <a:pt x="2438" y="2744"/>
                      </a:lnTo>
                      <a:lnTo>
                        <a:pt x="2489" y="2744"/>
                      </a:lnTo>
                      <a:lnTo>
                        <a:pt x="2485" y="2771"/>
                      </a:lnTo>
                      <a:lnTo>
                        <a:pt x="2401" y="2934"/>
                      </a:lnTo>
                      <a:lnTo>
                        <a:pt x="2386" y="3028"/>
                      </a:lnTo>
                      <a:lnTo>
                        <a:pt x="2100" y="3383"/>
                      </a:lnTo>
                      <a:lnTo>
                        <a:pt x="2104" y="3590"/>
                      </a:lnTo>
                      <a:lnTo>
                        <a:pt x="2127" y="3736"/>
                      </a:lnTo>
                      <a:lnTo>
                        <a:pt x="2127" y="3763"/>
                      </a:lnTo>
                      <a:lnTo>
                        <a:pt x="2140" y="3844"/>
                      </a:lnTo>
                      <a:lnTo>
                        <a:pt x="2140" y="3853"/>
                      </a:lnTo>
                      <a:lnTo>
                        <a:pt x="1927" y="4024"/>
                      </a:lnTo>
                      <a:lnTo>
                        <a:pt x="1913" y="4149"/>
                      </a:lnTo>
                      <a:lnTo>
                        <a:pt x="1904" y="4201"/>
                      </a:lnTo>
                      <a:lnTo>
                        <a:pt x="1904" y="4214"/>
                      </a:lnTo>
                      <a:lnTo>
                        <a:pt x="1819" y="4262"/>
                      </a:lnTo>
                      <a:lnTo>
                        <a:pt x="1626" y="4583"/>
                      </a:lnTo>
                      <a:lnTo>
                        <a:pt x="1522" y="4679"/>
                      </a:lnTo>
                      <a:lnTo>
                        <a:pt x="1322" y="4679"/>
                      </a:lnTo>
                      <a:lnTo>
                        <a:pt x="1280" y="4500"/>
                      </a:lnTo>
                      <a:lnTo>
                        <a:pt x="1171" y="4178"/>
                      </a:lnTo>
                      <a:lnTo>
                        <a:pt x="1092" y="4015"/>
                      </a:lnTo>
                      <a:lnTo>
                        <a:pt x="1115" y="3755"/>
                      </a:lnTo>
                      <a:lnTo>
                        <a:pt x="1128" y="3713"/>
                      </a:lnTo>
                      <a:lnTo>
                        <a:pt x="1128" y="3704"/>
                      </a:lnTo>
                      <a:lnTo>
                        <a:pt x="1092" y="3683"/>
                      </a:lnTo>
                      <a:lnTo>
                        <a:pt x="1092" y="3546"/>
                      </a:lnTo>
                      <a:lnTo>
                        <a:pt x="936" y="3324"/>
                      </a:lnTo>
                      <a:lnTo>
                        <a:pt x="988" y="3193"/>
                      </a:lnTo>
                      <a:lnTo>
                        <a:pt x="921" y="3105"/>
                      </a:lnTo>
                      <a:lnTo>
                        <a:pt x="792" y="3101"/>
                      </a:lnTo>
                      <a:lnTo>
                        <a:pt x="704" y="3007"/>
                      </a:lnTo>
                      <a:lnTo>
                        <a:pt x="649" y="3028"/>
                      </a:lnTo>
                      <a:lnTo>
                        <a:pt x="614" y="3084"/>
                      </a:lnTo>
                      <a:lnTo>
                        <a:pt x="263" y="3101"/>
                      </a:lnTo>
                      <a:lnTo>
                        <a:pt x="124" y="2988"/>
                      </a:lnTo>
                      <a:lnTo>
                        <a:pt x="46" y="2805"/>
                      </a:lnTo>
                      <a:lnTo>
                        <a:pt x="0" y="2744"/>
                      </a:lnTo>
                      <a:lnTo>
                        <a:pt x="17" y="2606"/>
                      </a:lnTo>
                      <a:lnTo>
                        <a:pt x="0" y="2414"/>
                      </a:lnTo>
                      <a:lnTo>
                        <a:pt x="119" y="2166"/>
                      </a:lnTo>
                      <a:lnTo>
                        <a:pt x="132" y="2157"/>
                      </a:lnTo>
                      <a:lnTo>
                        <a:pt x="220" y="2143"/>
                      </a:lnTo>
                      <a:lnTo>
                        <a:pt x="234" y="2122"/>
                      </a:lnTo>
                      <a:lnTo>
                        <a:pt x="263" y="1961"/>
                      </a:lnTo>
                      <a:lnTo>
                        <a:pt x="301" y="1925"/>
                      </a:lnTo>
                      <a:lnTo>
                        <a:pt x="389" y="1861"/>
                      </a:lnTo>
                      <a:lnTo>
                        <a:pt x="547" y="1861"/>
                      </a:lnTo>
                      <a:lnTo>
                        <a:pt x="610" y="1825"/>
                      </a:lnTo>
                      <a:lnTo>
                        <a:pt x="658" y="1815"/>
                      </a:lnTo>
                      <a:lnTo>
                        <a:pt x="827" y="1784"/>
                      </a:lnTo>
                      <a:lnTo>
                        <a:pt x="946" y="1794"/>
                      </a:lnTo>
                      <a:lnTo>
                        <a:pt x="977" y="1802"/>
                      </a:lnTo>
                      <a:lnTo>
                        <a:pt x="984" y="1802"/>
                      </a:lnTo>
                      <a:lnTo>
                        <a:pt x="1002" y="1853"/>
                      </a:lnTo>
                      <a:lnTo>
                        <a:pt x="1025" y="1951"/>
                      </a:lnTo>
                      <a:lnTo>
                        <a:pt x="1115" y="1997"/>
                      </a:lnTo>
                      <a:lnTo>
                        <a:pt x="1148" y="2049"/>
                      </a:lnTo>
                      <a:lnTo>
                        <a:pt x="1322" y="2011"/>
                      </a:lnTo>
                      <a:lnTo>
                        <a:pt x="1328" y="1944"/>
                      </a:lnTo>
                      <a:lnTo>
                        <a:pt x="1341" y="1919"/>
                      </a:lnTo>
                      <a:lnTo>
                        <a:pt x="1518" y="2011"/>
                      </a:lnTo>
                      <a:lnTo>
                        <a:pt x="1583" y="1997"/>
                      </a:lnTo>
                      <a:lnTo>
                        <a:pt x="1587" y="1992"/>
                      </a:lnTo>
                      <a:lnTo>
                        <a:pt x="1591" y="2047"/>
                      </a:lnTo>
                      <a:lnTo>
                        <a:pt x="1612" y="2049"/>
                      </a:lnTo>
                      <a:lnTo>
                        <a:pt x="1626" y="2049"/>
                      </a:lnTo>
                      <a:lnTo>
                        <a:pt x="1626" y="2080"/>
                      </a:lnTo>
                      <a:lnTo>
                        <a:pt x="1637" y="2080"/>
                      </a:lnTo>
                      <a:lnTo>
                        <a:pt x="1802" y="1992"/>
                      </a:lnTo>
                      <a:lnTo>
                        <a:pt x="1819" y="1844"/>
                      </a:lnTo>
                      <a:lnTo>
                        <a:pt x="1819" y="1771"/>
                      </a:lnTo>
                      <a:lnTo>
                        <a:pt x="1798" y="1771"/>
                      </a:lnTo>
                      <a:lnTo>
                        <a:pt x="1702" y="1802"/>
                      </a:lnTo>
                      <a:lnTo>
                        <a:pt x="1522" y="1765"/>
                      </a:lnTo>
                      <a:lnTo>
                        <a:pt x="1489" y="1734"/>
                      </a:lnTo>
                      <a:lnTo>
                        <a:pt x="1485" y="1671"/>
                      </a:lnTo>
                      <a:lnTo>
                        <a:pt x="1518" y="1614"/>
                      </a:lnTo>
                      <a:lnTo>
                        <a:pt x="1518" y="1598"/>
                      </a:lnTo>
                      <a:lnTo>
                        <a:pt x="1651" y="1569"/>
                      </a:lnTo>
                      <a:lnTo>
                        <a:pt x="1785" y="1521"/>
                      </a:lnTo>
                      <a:lnTo>
                        <a:pt x="1904" y="1575"/>
                      </a:lnTo>
                      <a:lnTo>
                        <a:pt x="2006" y="1544"/>
                      </a:lnTo>
                      <a:lnTo>
                        <a:pt x="2011" y="1544"/>
                      </a:lnTo>
                      <a:lnTo>
                        <a:pt x="2011" y="1531"/>
                      </a:lnTo>
                      <a:lnTo>
                        <a:pt x="1998" y="1510"/>
                      </a:lnTo>
                      <a:lnTo>
                        <a:pt x="1921" y="1500"/>
                      </a:lnTo>
                      <a:lnTo>
                        <a:pt x="1821" y="1433"/>
                      </a:lnTo>
                      <a:lnTo>
                        <a:pt x="1816" y="1410"/>
                      </a:lnTo>
                      <a:lnTo>
                        <a:pt x="1802" y="1410"/>
                      </a:lnTo>
                      <a:lnTo>
                        <a:pt x="1779" y="1449"/>
                      </a:lnTo>
                      <a:lnTo>
                        <a:pt x="1685" y="1443"/>
                      </a:lnTo>
                      <a:lnTo>
                        <a:pt x="1629" y="1410"/>
                      </a:lnTo>
                      <a:lnTo>
                        <a:pt x="1608" y="1410"/>
                      </a:lnTo>
                      <a:lnTo>
                        <a:pt x="1514" y="1514"/>
                      </a:lnTo>
                      <a:lnTo>
                        <a:pt x="1503" y="1594"/>
                      </a:lnTo>
                      <a:lnTo>
                        <a:pt x="1489" y="1594"/>
                      </a:lnTo>
                      <a:lnTo>
                        <a:pt x="1480" y="1604"/>
                      </a:lnTo>
                      <a:lnTo>
                        <a:pt x="1480" y="1617"/>
                      </a:lnTo>
                      <a:lnTo>
                        <a:pt x="1403" y="1667"/>
                      </a:lnTo>
                      <a:lnTo>
                        <a:pt x="1397" y="1677"/>
                      </a:lnTo>
                      <a:lnTo>
                        <a:pt x="1397" y="1784"/>
                      </a:lnTo>
                      <a:lnTo>
                        <a:pt x="1341" y="1784"/>
                      </a:lnTo>
                      <a:lnTo>
                        <a:pt x="1341" y="1727"/>
                      </a:lnTo>
                      <a:lnTo>
                        <a:pt x="1234" y="1575"/>
                      </a:lnTo>
                      <a:lnTo>
                        <a:pt x="1115" y="1504"/>
                      </a:lnTo>
                      <a:lnTo>
                        <a:pt x="1042" y="1504"/>
                      </a:lnTo>
                      <a:lnTo>
                        <a:pt x="1036" y="1510"/>
                      </a:lnTo>
                      <a:lnTo>
                        <a:pt x="1036" y="1516"/>
                      </a:lnTo>
                      <a:lnTo>
                        <a:pt x="1230" y="1629"/>
                      </a:lnTo>
                      <a:lnTo>
                        <a:pt x="1230" y="1648"/>
                      </a:lnTo>
                      <a:lnTo>
                        <a:pt x="1207" y="1683"/>
                      </a:lnTo>
                      <a:lnTo>
                        <a:pt x="1148" y="1761"/>
                      </a:lnTo>
                      <a:lnTo>
                        <a:pt x="1144" y="1671"/>
                      </a:lnTo>
                      <a:lnTo>
                        <a:pt x="1019" y="1594"/>
                      </a:lnTo>
                      <a:lnTo>
                        <a:pt x="1002" y="1594"/>
                      </a:lnTo>
                      <a:lnTo>
                        <a:pt x="904" y="1504"/>
                      </a:lnTo>
                      <a:lnTo>
                        <a:pt x="827" y="1510"/>
                      </a:lnTo>
                      <a:lnTo>
                        <a:pt x="798" y="1521"/>
                      </a:lnTo>
                      <a:lnTo>
                        <a:pt x="654" y="1521"/>
                      </a:lnTo>
                      <a:lnTo>
                        <a:pt x="599" y="1711"/>
                      </a:lnTo>
                      <a:lnTo>
                        <a:pt x="599" y="1731"/>
                      </a:lnTo>
                      <a:lnTo>
                        <a:pt x="497" y="1802"/>
                      </a:lnTo>
                      <a:lnTo>
                        <a:pt x="318" y="1802"/>
                      </a:lnTo>
                      <a:lnTo>
                        <a:pt x="263" y="1708"/>
                      </a:lnTo>
                      <a:lnTo>
                        <a:pt x="318" y="1594"/>
                      </a:lnTo>
                      <a:lnTo>
                        <a:pt x="318" y="1521"/>
                      </a:lnTo>
                      <a:lnTo>
                        <a:pt x="349" y="1485"/>
                      </a:lnTo>
                      <a:lnTo>
                        <a:pt x="460" y="1491"/>
                      </a:lnTo>
                      <a:lnTo>
                        <a:pt x="543" y="1521"/>
                      </a:lnTo>
                      <a:lnTo>
                        <a:pt x="547" y="1410"/>
                      </a:lnTo>
                      <a:lnTo>
                        <a:pt x="460" y="1320"/>
                      </a:lnTo>
                      <a:lnTo>
                        <a:pt x="483" y="1301"/>
                      </a:lnTo>
                      <a:lnTo>
                        <a:pt x="606" y="1257"/>
                      </a:lnTo>
                      <a:lnTo>
                        <a:pt x="677" y="1207"/>
                      </a:lnTo>
                      <a:lnTo>
                        <a:pt x="831" y="1113"/>
                      </a:lnTo>
                      <a:lnTo>
                        <a:pt x="900" y="1053"/>
                      </a:lnTo>
                      <a:lnTo>
                        <a:pt x="900" y="957"/>
                      </a:lnTo>
                      <a:lnTo>
                        <a:pt x="917" y="940"/>
                      </a:lnTo>
                      <a:lnTo>
                        <a:pt x="921" y="940"/>
                      </a:lnTo>
                      <a:lnTo>
                        <a:pt x="933" y="955"/>
                      </a:lnTo>
                      <a:lnTo>
                        <a:pt x="933" y="1049"/>
                      </a:lnTo>
                      <a:lnTo>
                        <a:pt x="1105" y="1124"/>
                      </a:lnTo>
                      <a:lnTo>
                        <a:pt x="1148" y="1103"/>
                      </a:lnTo>
                      <a:lnTo>
                        <a:pt x="1269" y="1017"/>
                      </a:lnTo>
                      <a:lnTo>
                        <a:pt x="1272" y="971"/>
                      </a:lnTo>
                      <a:lnTo>
                        <a:pt x="1272" y="957"/>
                      </a:lnTo>
                      <a:lnTo>
                        <a:pt x="1336" y="940"/>
                      </a:lnTo>
                      <a:lnTo>
                        <a:pt x="1351" y="917"/>
                      </a:lnTo>
                      <a:lnTo>
                        <a:pt x="1374" y="871"/>
                      </a:lnTo>
                      <a:lnTo>
                        <a:pt x="1403" y="855"/>
                      </a:lnTo>
                      <a:lnTo>
                        <a:pt x="1336" y="855"/>
                      </a:lnTo>
                      <a:lnTo>
                        <a:pt x="1297" y="865"/>
                      </a:lnTo>
                      <a:lnTo>
                        <a:pt x="1290" y="865"/>
                      </a:lnTo>
                      <a:lnTo>
                        <a:pt x="1221" y="758"/>
                      </a:lnTo>
                      <a:lnTo>
                        <a:pt x="1293" y="685"/>
                      </a:lnTo>
                      <a:lnTo>
                        <a:pt x="1305" y="677"/>
                      </a:lnTo>
                      <a:lnTo>
                        <a:pt x="1322" y="658"/>
                      </a:lnTo>
                      <a:lnTo>
                        <a:pt x="1290" y="639"/>
                      </a:lnTo>
                      <a:lnTo>
                        <a:pt x="1132" y="752"/>
                      </a:lnTo>
                      <a:lnTo>
                        <a:pt x="1184" y="865"/>
                      </a:lnTo>
                      <a:lnTo>
                        <a:pt x="1144" y="886"/>
                      </a:lnTo>
                      <a:lnTo>
                        <a:pt x="1144" y="923"/>
                      </a:lnTo>
                      <a:lnTo>
                        <a:pt x="1115" y="936"/>
                      </a:lnTo>
                      <a:lnTo>
                        <a:pt x="1115" y="963"/>
                      </a:lnTo>
                      <a:lnTo>
                        <a:pt x="1128" y="999"/>
                      </a:lnTo>
                      <a:lnTo>
                        <a:pt x="1128" y="1011"/>
                      </a:lnTo>
                      <a:lnTo>
                        <a:pt x="1042" y="1011"/>
                      </a:lnTo>
                      <a:lnTo>
                        <a:pt x="1025" y="940"/>
                      </a:lnTo>
                      <a:lnTo>
                        <a:pt x="933" y="882"/>
                      </a:lnTo>
                      <a:lnTo>
                        <a:pt x="831" y="940"/>
                      </a:lnTo>
                      <a:lnTo>
                        <a:pt x="792" y="865"/>
                      </a:lnTo>
                      <a:lnTo>
                        <a:pt x="812" y="742"/>
                      </a:lnTo>
                      <a:lnTo>
                        <a:pt x="812" y="733"/>
                      </a:lnTo>
                      <a:lnTo>
                        <a:pt x="1006" y="658"/>
                      </a:lnTo>
                      <a:lnTo>
                        <a:pt x="1140" y="458"/>
                      </a:lnTo>
                      <a:lnTo>
                        <a:pt x="1203" y="422"/>
                      </a:lnTo>
                      <a:lnTo>
                        <a:pt x="1341" y="358"/>
                      </a:lnTo>
                      <a:lnTo>
                        <a:pt x="1426" y="391"/>
                      </a:lnTo>
                      <a:lnTo>
                        <a:pt x="1434" y="451"/>
                      </a:lnTo>
                      <a:lnTo>
                        <a:pt x="1651" y="452"/>
                      </a:lnTo>
                      <a:lnTo>
                        <a:pt x="1714" y="472"/>
                      </a:lnTo>
                      <a:lnTo>
                        <a:pt x="1779" y="558"/>
                      </a:lnTo>
                      <a:lnTo>
                        <a:pt x="1779" y="564"/>
                      </a:lnTo>
                      <a:lnTo>
                        <a:pt x="1675" y="579"/>
                      </a:lnTo>
                      <a:lnTo>
                        <a:pt x="1597" y="579"/>
                      </a:lnTo>
                      <a:lnTo>
                        <a:pt x="1597" y="594"/>
                      </a:lnTo>
                      <a:lnTo>
                        <a:pt x="1626" y="658"/>
                      </a:lnTo>
                      <a:lnTo>
                        <a:pt x="1685" y="639"/>
                      </a:lnTo>
                      <a:lnTo>
                        <a:pt x="1771" y="658"/>
                      </a:lnTo>
                      <a:lnTo>
                        <a:pt x="1779" y="658"/>
                      </a:lnTo>
                      <a:lnTo>
                        <a:pt x="1785" y="579"/>
                      </a:lnTo>
                      <a:lnTo>
                        <a:pt x="2121" y="445"/>
                      </a:lnTo>
                      <a:lnTo>
                        <a:pt x="2228" y="412"/>
                      </a:lnTo>
                      <a:lnTo>
                        <a:pt x="2261" y="378"/>
                      </a:lnTo>
                      <a:lnTo>
                        <a:pt x="2393" y="445"/>
                      </a:lnTo>
                      <a:lnTo>
                        <a:pt x="2395" y="451"/>
                      </a:lnTo>
                      <a:lnTo>
                        <a:pt x="2395" y="431"/>
                      </a:lnTo>
                      <a:lnTo>
                        <a:pt x="2366" y="355"/>
                      </a:lnTo>
                      <a:lnTo>
                        <a:pt x="2366" y="266"/>
                      </a:lnTo>
                      <a:lnTo>
                        <a:pt x="2438" y="266"/>
                      </a:lnTo>
                      <a:lnTo>
                        <a:pt x="2493" y="358"/>
                      </a:lnTo>
                      <a:lnTo>
                        <a:pt x="2545" y="397"/>
                      </a:lnTo>
                      <a:lnTo>
                        <a:pt x="2574" y="495"/>
                      </a:lnTo>
                      <a:lnTo>
                        <a:pt x="2574" y="500"/>
                      </a:lnTo>
                      <a:lnTo>
                        <a:pt x="2578" y="504"/>
                      </a:lnTo>
                      <a:lnTo>
                        <a:pt x="2614" y="418"/>
                      </a:lnTo>
                      <a:lnTo>
                        <a:pt x="2614" y="408"/>
                      </a:lnTo>
                      <a:lnTo>
                        <a:pt x="2507" y="295"/>
                      </a:lnTo>
                      <a:lnTo>
                        <a:pt x="2507" y="266"/>
                      </a:lnTo>
                      <a:lnTo>
                        <a:pt x="2578" y="266"/>
                      </a:lnTo>
                      <a:lnTo>
                        <a:pt x="2578" y="293"/>
                      </a:lnTo>
                      <a:lnTo>
                        <a:pt x="2583" y="295"/>
                      </a:lnTo>
                      <a:lnTo>
                        <a:pt x="2614" y="266"/>
                      </a:lnTo>
                      <a:lnTo>
                        <a:pt x="2614" y="172"/>
                      </a:lnTo>
                      <a:lnTo>
                        <a:pt x="2706" y="172"/>
                      </a:lnTo>
                      <a:lnTo>
                        <a:pt x="2795" y="113"/>
                      </a:lnTo>
                      <a:lnTo>
                        <a:pt x="2965" y="76"/>
                      </a:lnTo>
                      <a:lnTo>
                        <a:pt x="2975" y="17"/>
                      </a:lnTo>
                      <a:lnTo>
                        <a:pt x="3027" y="0"/>
                      </a:lnTo>
                      <a:lnTo>
                        <a:pt x="3067" y="17"/>
                      </a:lnTo>
                      <a:lnTo>
                        <a:pt x="3288" y="40"/>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63" name="Freeform 178"/>
                <p:cNvSpPr>
                  <a:spLocks/>
                </p:cNvSpPr>
                <p:nvPr/>
              </p:nvSpPr>
              <p:spPr bwMode="gray">
                <a:xfrm>
                  <a:off x="8653551" y="4096676"/>
                  <a:ext cx="277816" cy="315913"/>
                </a:xfrm>
                <a:custGeom>
                  <a:avLst/>
                  <a:gdLst>
                    <a:gd name="T0" fmla="*/ 87 w 351"/>
                    <a:gd name="T1" fmla="*/ 10 h 398"/>
                    <a:gd name="T2" fmla="*/ 69 w 351"/>
                    <a:gd name="T3" fmla="*/ 13 h 398"/>
                    <a:gd name="T4" fmla="*/ 69 w 351"/>
                    <a:gd name="T5" fmla="*/ 17 h 398"/>
                    <a:gd name="T6" fmla="*/ 74 w 351"/>
                    <a:gd name="T7" fmla="*/ 25 h 398"/>
                    <a:gd name="T8" fmla="*/ 76 w 351"/>
                    <a:gd name="T9" fmla="*/ 37 h 398"/>
                    <a:gd name="T10" fmla="*/ 87 w 351"/>
                    <a:gd name="T11" fmla="*/ 48 h 398"/>
                    <a:gd name="T12" fmla="*/ 59 w 351"/>
                    <a:gd name="T13" fmla="*/ 100 h 398"/>
                    <a:gd name="T14" fmla="*/ 5 w 351"/>
                    <a:gd name="T15" fmla="*/ 95 h 398"/>
                    <a:gd name="T16" fmla="*/ 3 w 351"/>
                    <a:gd name="T17" fmla="*/ 79 h 398"/>
                    <a:gd name="T18" fmla="*/ 0 w 351"/>
                    <a:gd name="T19" fmla="*/ 46 h 398"/>
                    <a:gd name="T20" fmla="*/ 28 w 351"/>
                    <a:gd name="T21" fmla="*/ 28 h 398"/>
                    <a:gd name="T22" fmla="*/ 41 w 351"/>
                    <a:gd name="T23" fmla="*/ 10 h 398"/>
                    <a:gd name="T24" fmla="*/ 60 w 351"/>
                    <a:gd name="T25" fmla="*/ 5 h 398"/>
                    <a:gd name="T26" fmla="*/ 63 w 351"/>
                    <a:gd name="T27" fmla="*/ 0 h 398"/>
                    <a:gd name="T28" fmla="*/ 87 w 351"/>
                    <a:gd name="T29" fmla="*/ 0 h 398"/>
                    <a:gd name="T30" fmla="*/ 87 w 351"/>
                    <a:gd name="T31" fmla="*/ 10 h 3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51"/>
                    <a:gd name="T49" fmla="*/ 0 h 398"/>
                    <a:gd name="T50" fmla="*/ 351 w 351"/>
                    <a:gd name="T51" fmla="*/ 398 h 39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51" h="398">
                      <a:moveTo>
                        <a:pt x="351" y="37"/>
                      </a:moveTo>
                      <a:lnTo>
                        <a:pt x="276" y="52"/>
                      </a:lnTo>
                      <a:lnTo>
                        <a:pt x="276" y="65"/>
                      </a:lnTo>
                      <a:lnTo>
                        <a:pt x="297" y="98"/>
                      </a:lnTo>
                      <a:lnTo>
                        <a:pt x="307" y="146"/>
                      </a:lnTo>
                      <a:lnTo>
                        <a:pt x="351" y="192"/>
                      </a:lnTo>
                      <a:lnTo>
                        <a:pt x="236" y="398"/>
                      </a:lnTo>
                      <a:lnTo>
                        <a:pt x="21" y="378"/>
                      </a:lnTo>
                      <a:lnTo>
                        <a:pt x="13" y="315"/>
                      </a:lnTo>
                      <a:lnTo>
                        <a:pt x="0" y="181"/>
                      </a:lnTo>
                      <a:lnTo>
                        <a:pt x="113" y="113"/>
                      </a:lnTo>
                      <a:lnTo>
                        <a:pt x="165" y="37"/>
                      </a:lnTo>
                      <a:lnTo>
                        <a:pt x="240" y="19"/>
                      </a:lnTo>
                      <a:lnTo>
                        <a:pt x="253" y="0"/>
                      </a:lnTo>
                      <a:lnTo>
                        <a:pt x="351" y="0"/>
                      </a:lnTo>
                      <a:lnTo>
                        <a:pt x="351" y="37"/>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67" name="Freeform 179"/>
                <p:cNvSpPr>
                  <a:spLocks/>
                </p:cNvSpPr>
                <p:nvPr/>
              </p:nvSpPr>
              <p:spPr bwMode="gray">
                <a:xfrm>
                  <a:off x="8263021" y="4171288"/>
                  <a:ext cx="304804" cy="315913"/>
                </a:xfrm>
                <a:custGeom>
                  <a:avLst/>
                  <a:gdLst>
                    <a:gd name="T0" fmla="*/ 88 w 384"/>
                    <a:gd name="T1" fmla="*/ 66 h 398"/>
                    <a:gd name="T2" fmla="*/ 91 w 384"/>
                    <a:gd name="T3" fmla="*/ 60 h 398"/>
                    <a:gd name="T4" fmla="*/ 91 w 384"/>
                    <a:gd name="T5" fmla="*/ 59 h 398"/>
                    <a:gd name="T6" fmla="*/ 92 w 384"/>
                    <a:gd name="T7" fmla="*/ 58 h 398"/>
                    <a:gd name="T8" fmla="*/ 96 w 384"/>
                    <a:gd name="T9" fmla="*/ 67 h 398"/>
                    <a:gd name="T10" fmla="*/ 92 w 384"/>
                    <a:gd name="T11" fmla="*/ 77 h 398"/>
                    <a:gd name="T12" fmla="*/ 96 w 384"/>
                    <a:gd name="T13" fmla="*/ 95 h 398"/>
                    <a:gd name="T14" fmla="*/ 90 w 384"/>
                    <a:gd name="T15" fmla="*/ 98 h 398"/>
                    <a:gd name="T16" fmla="*/ 89 w 384"/>
                    <a:gd name="T17" fmla="*/ 100 h 398"/>
                    <a:gd name="T18" fmla="*/ 49 w 384"/>
                    <a:gd name="T19" fmla="*/ 71 h 398"/>
                    <a:gd name="T20" fmla="*/ 47 w 384"/>
                    <a:gd name="T21" fmla="*/ 55 h 398"/>
                    <a:gd name="T22" fmla="*/ 47 w 384"/>
                    <a:gd name="T23" fmla="*/ 55 h 398"/>
                    <a:gd name="T24" fmla="*/ 41 w 384"/>
                    <a:gd name="T25" fmla="*/ 54 h 398"/>
                    <a:gd name="T26" fmla="*/ 38 w 384"/>
                    <a:gd name="T27" fmla="*/ 54 h 398"/>
                    <a:gd name="T28" fmla="*/ 25 w 384"/>
                    <a:gd name="T29" fmla="*/ 28 h 398"/>
                    <a:gd name="T30" fmla="*/ 14 w 384"/>
                    <a:gd name="T31" fmla="*/ 21 h 398"/>
                    <a:gd name="T32" fmla="*/ 0 w 384"/>
                    <a:gd name="T33" fmla="*/ 6 h 398"/>
                    <a:gd name="T34" fmla="*/ 7 w 384"/>
                    <a:gd name="T35" fmla="*/ 1 h 398"/>
                    <a:gd name="T36" fmla="*/ 11 w 384"/>
                    <a:gd name="T37" fmla="*/ 0 h 398"/>
                    <a:gd name="T38" fmla="*/ 68 w 384"/>
                    <a:gd name="T39" fmla="*/ 37 h 398"/>
                    <a:gd name="T40" fmla="*/ 88 w 384"/>
                    <a:gd name="T41" fmla="*/ 66 h 3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4"/>
                    <a:gd name="T64" fmla="*/ 0 h 398"/>
                    <a:gd name="T65" fmla="*/ 384 w 384"/>
                    <a:gd name="T66" fmla="*/ 398 h 3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4" h="398">
                      <a:moveTo>
                        <a:pt x="350" y="263"/>
                      </a:moveTo>
                      <a:lnTo>
                        <a:pt x="363" y="242"/>
                      </a:lnTo>
                      <a:lnTo>
                        <a:pt x="363" y="238"/>
                      </a:lnTo>
                      <a:lnTo>
                        <a:pt x="367" y="233"/>
                      </a:lnTo>
                      <a:lnTo>
                        <a:pt x="384" y="267"/>
                      </a:lnTo>
                      <a:lnTo>
                        <a:pt x="367" y="307"/>
                      </a:lnTo>
                      <a:lnTo>
                        <a:pt x="384" y="378"/>
                      </a:lnTo>
                      <a:lnTo>
                        <a:pt x="359" y="392"/>
                      </a:lnTo>
                      <a:lnTo>
                        <a:pt x="354" y="398"/>
                      </a:lnTo>
                      <a:lnTo>
                        <a:pt x="198" y="284"/>
                      </a:lnTo>
                      <a:lnTo>
                        <a:pt x="187" y="223"/>
                      </a:lnTo>
                      <a:lnTo>
                        <a:pt x="187" y="221"/>
                      </a:lnTo>
                      <a:lnTo>
                        <a:pt x="162" y="217"/>
                      </a:lnTo>
                      <a:lnTo>
                        <a:pt x="150" y="217"/>
                      </a:lnTo>
                      <a:lnTo>
                        <a:pt x="102" y="114"/>
                      </a:lnTo>
                      <a:lnTo>
                        <a:pt x="58" y="83"/>
                      </a:lnTo>
                      <a:lnTo>
                        <a:pt x="0" y="23"/>
                      </a:lnTo>
                      <a:lnTo>
                        <a:pt x="31" y="4"/>
                      </a:lnTo>
                      <a:lnTo>
                        <a:pt x="44" y="0"/>
                      </a:lnTo>
                      <a:lnTo>
                        <a:pt x="269" y="146"/>
                      </a:lnTo>
                      <a:lnTo>
                        <a:pt x="350" y="263"/>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68" name="Freeform 180"/>
                <p:cNvSpPr>
                  <a:spLocks/>
                </p:cNvSpPr>
                <p:nvPr/>
              </p:nvSpPr>
              <p:spPr bwMode="gray">
                <a:xfrm>
                  <a:off x="9329835" y="4276063"/>
                  <a:ext cx="547695" cy="360363"/>
                </a:xfrm>
                <a:custGeom>
                  <a:avLst/>
                  <a:gdLst>
                    <a:gd name="T0" fmla="*/ 38 w 689"/>
                    <a:gd name="T1" fmla="*/ 40 h 453"/>
                    <a:gd name="T2" fmla="*/ 57 w 689"/>
                    <a:gd name="T3" fmla="*/ 22 h 453"/>
                    <a:gd name="T4" fmla="*/ 68 w 689"/>
                    <a:gd name="T5" fmla="*/ 24 h 453"/>
                    <a:gd name="T6" fmla="*/ 116 w 689"/>
                    <a:gd name="T7" fmla="*/ 45 h 453"/>
                    <a:gd name="T8" fmla="*/ 151 w 689"/>
                    <a:gd name="T9" fmla="*/ 63 h 453"/>
                    <a:gd name="T10" fmla="*/ 135 w 689"/>
                    <a:gd name="T11" fmla="*/ 73 h 453"/>
                    <a:gd name="T12" fmla="*/ 170 w 689"/>
                    <a:gd name="T13" fmla="*/ 102 h 453"/>
                    <a:gd name="T14" fmla="*/ 173 w 689"/>
                    <a:gd name="T15" fmla="*/ 104 h 453"/>
                    <a:gd name="T16" fmla="*/ 173 w 689"/>
                    <a:gd name="T17" fmla="*/ 114 h 453"/>
                    <a:gd name="T18" fmla="*/ 152 w 689"/>
                    <a:gd name="T19" fmla="*/ 114 h 453"/>
                    <a:gd name="T20" fmla="*/ 130 w 689"/>
                    <a:gd name="T21" fmla="*/ 91 h 453"/>
                    <a:gd name="T22" fmla="*/ 110 w 689"/>
                    <a:gd name="T23" fmla="*/ 87 h 453"/>
                    <a:gd name="T24" fmla="*/ 109 w 689"/>
                    <a:gd name="T25" fmla="*/ 86 h 453"/>
                    <a:gd name="T26" fmla="*/ 107 w 689"/>
                    <a:gd name="T27" fmla="*/ 97 h 453"/>
                    <a:gd name="T28" fmla="*/ 97 w 689"/>
                    <a:gd name="T29" fmla="*/ 103 h 453"/>
                    <a:gd name="T30" fmla="*/ 93 w 689"/>
                    <a:gd name="T31" fmla="*/ 103 h 453"/>
                    <a:gd name="T32" fmla="*/ 65 w 689"/>
                    <a:gd name="T33" fmla="*/ 91 h 453"/>
                    <a:gd name="T34" fmla="*/ 65 w 689"/>
                    <a:gd name="T35" fmla="*/ 64 h 453"/>
                    <a:gd name="T36" fmla="*/ 38 w 689"/>
                    <a:gd name="T37" fmla="*/ 59 h 453"/>
                    <a:gd name="T38" fmla="*/ 13 w 689"/>
                    <a:gd name="T39" fmla="*/ 42 h 453"/>
                    <a:gd name="T40" fmla="*/ 0 w 689"/>
                    <a:gd name="T41" fmla="*/ 6 h 453"/>
                    <a:gd name="T42" fmla="*/ 12 w 689"/>
                    <a:gd name="T43" fmla="*/ 0 h 453"/>
                    <a:gd name="T44" fmla="*/ 26 w 689"/>
                    <a:gd name="T45" fmla="*/ 27 h 453"/>
                    <a:gd name="T46" fmla="*/ 38 w 689"/>
                    <a:gd name="T47" fmla="*/ 40 h 4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89"/>
                    <a:gd name="T73" fmla="*/ 0 h 453"/>
                    <a:gd name="T74" fmla="*/ 689 w 689"/>
                    <a:gd name="T75" fmla="*/ 453 h 4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89" h="453">
                      <a:moveTo>
                        <a:pt x="152" y="159"/>
                      </a:moveTo>
                      <a:lnTo>
                        <a:pt x="228" y="88"/>
                      </a:lnTo>
                      <a:lnTo>
                        <a:pt x="269" y="94"/>
                      </a:lnTo>
                      <a:lnTo>
                        <a:pt x="461" y="178"/>
                      </a:lnTo>
                      <a:lnTo>
                        <a:pt x="603" y="251"/>
                      </a:lnTo>
                      <a:lnTo>
                        <a:pt x="539" y="290"/>
                      </a:lnTo>
                      <a:lnTo>
                        <a:pt x="679" y="407"/>
                      </a:lnTo>
                      <a:lnTo>
                        <a:pt x="689" y="416"/>
                      </a:lnTo>
                      <a:lnTo>
                        <a:pt x="689" y="453"/>
                      </a:lnTo>
                      <a:lnTo>
                        <a:pt x="607" y="453"/>
                      </a:lnTo>
                      <a:lnTo>
                        <a:pt x="518" y="361"/>
                      </a:lnTo>
                      <a:lnTo>
                        <a:pt x="440" y="345"/>
                      </a:lnTo>
                      <a:lnTo>
                        <a:pt x="436" y="343"/>
                      </a:lnTo>
                      <a:lnTo>
                        <a:pt x="426" y="385"/>
                      </a:lnTo>
                      <a:lnTo>
                        <a:pt x="388" y="412"/>
                      </a:lnTo>
                      <a:lnTo>
                        <a:pt x="369" y="412"/>
                      </a:lnTo>
                      <a:lnTo>
                        <a:pt x="257" y="361"/>
                      </a:lnTo>
                      <a:lnTo>
                        <a:pt x="257" y="253"/>
                      </a:lnTo>
                      <a:lnTo>
                        <a:pt x="152" y="236"/>
                      </a:lnTo>
                      <a:lnTo>
                        <a:pt x="52" y="165"/>
                      </a:lnTo>
                      <a:lnTo>
                        <a:pt x="0" y="21"/>
                      </a:lnTo>
                      <a:lnTo>
                        <a:pt x="48" y="0"/>
                      </a:lnTo>
                      <a:lnTo>
                        <a:pt x="104" y="107"/>
                      </a:lnTo>
                      <a:lnTo>
                        <a:pt x="152" y="159"/>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69" name="Freeform 181"/>
                <p:cNvSpPr>
                  <a:spLocks/>
                </p:cNvSpPr>
                <p:nvPr/>
              </p:nvSpPr>
              <p:spPr bwMode="gray">
                <a:xfrm>
                  <a:off x="8653551" y="4649126"/>
                  <a:ext cx="1150952" cy="1033463"/>
                </a:xfrm>
                <a:custGeom>
                  <a:avLst/>
                  <a:gdLst>
                    <a:gd name="T0" fmla="*/ 310 w 1451"/>
                    <a:gd name="T1" fmla="*/ 5 h 1301"/>
                    <a:gd name="T2" fmla="*/ 313 w 1451"/>
                    <a:gd name="T3" fmla="*/ 30 h 1301"/>
                    <a:gd name="T4" fmla="*/ 316 w 1451"/>
                    <a:gd name="T5" fmla="*/ 41 h 1301"/>
                    <a:gd name="T6" fmla="*/ 320 w 1451"/>
                    <a:gd name="T7" fmla="*/ 51 h 1301"/>
                    <a:gd name="T8" fmla="*/ 332 w 1451"/>
                    <a:gd name="T9" fmla="*/ 106 h 1301"/>
                    <a:gd name="T10" fmla="*/ 341 w 1451"/>
                    <a:gd name="T11" fmla="*/ 113 h 1301"/>
                    <a:gd name="T12" fmla="*/ 337 w 1451"/>
                    <a:gd name="T13" fmla="*/ 138 h 1301"/>
                    <a:gd name="T14" fmla="*/ 342 w 1451"/>
                    <a:gd name="T15" fmla="*/ 160 h 1301"/>
                    <a:gd name="T16" fmla="*/ 362 w 1451"/>
                    <a:gd name="T17" fmla="*/ 167 h 1301"/>
                    <a:gd name="T18" fmla="*/ 362 w 1451"/>
                    <a:gd name="T19" fmla="*/ 178 h 1301"/>
                    <a:gd name="T20" fmla="*/ 358 w 1451"/>
                    <a:gd name="T21" fmla="*/ 199 h 1301"/>
                    <a:gd name="T22" fmla="*/ 305 w 1451"/>
                    <a:gd name="T23" fmla="*/ 271 h 1301"/>
                    <a:gd name="T24" fmla="*/ 249 w 1451"/>
                    <a:gd name="T25" fmla="*/ 317 h 1301"/>
                    <a:gd name="T26" fmla="*/ 215 w 1451"/>
                    <a:gd name="T27" fmla="*/ 321 h 1301"/>
                    <a:gd name="T28" fmla="*/ 211 w 1451"/>
                    <a:gd name="T29" fmla="*/ 321 h 1301"/>
                    <a:gd name="T30" fmla="*/ 209 w 1451"/>
                    <a:gd name="T31" fmla="*/ 322 h 1301"/>
                    <a:gd name="T32" fmla="*/ 209 w 1451"/>
                    <a:gd name="T33" fmla="*/ 326 h 1301"/>
                    <a:gd name="T34" fmla="*/ 176 w 1451"/>
                    <a:gd name="T35" fmla="*/ 304 h 1301"/>
                    <a:gd name="T36" fmla="*/ 175 w 1451"/>
                    <a:gd name="T37" fmla="*/ 304 h 1301"/>
                    <a:gd name="T38" fmla="*/ 192 w 1451"/>
                    <a:gd name="T39" fmla="*/ 294 h 1301"/>
                    <a:gd name="T40" fmla="*/ 184 w 1451"/>
                    <a:gd name="T41" fmla="*/ 280 h 1301"/>
                    <a:gd name="T42" fmla="*/ 184 w 1451"/>
                    <a:gd name="T43" fmla="*/ 278 h 1301"/>
                    <a:gd name="T44" fmla="*/ 192 w 1451"/>
                    <a:gd name="T45" fmla="*/ 270 h 1301"/>
                    <a:gd name="T46" fmla="*/ 167 w 1451"/>
                    <a:gd name="T47" fmla="*/ 245 h 1301"/>
                    <a:gd name="T48" fmla="*/ 149 w 1451"/>
                    <a:gd name="T49" fmla="*/ 233 h 1301"/>
                    <a:gd name="T50" fmla="*/ 114 w 1451"/>
                    <a:gd name="T51" fmla="*/ 235 h 1301"/>
                    <a:gd name="T52" fmla="*/ 79 w 1451"/>
                    <a:gd name="T53" fmla="*/ 251 h 1301"/>
                    <a:gd name="T54" fmla="*/ 0 w 1451"/>
                    <a:gd name="T55" fmla="*/ 256 h 1301"/>
                    <a:gd name="T56" fmla="*/ 4 w 1451"/>
                    <a:gd name="T57" fmla="*/ 248 h 1301"/>
                    <a:gd name="T58" fmla="*/ 1 w 1451"/>
                    <a:gd name="T59" fmla="*/ 210 h 1301"/>
                    <a:gd name="T60" fmla="*/ 0 w 1451"/>
                    <a:gd name="T61" fmla="*/ 182 h 1301"/>
                    <a:gd name="T62" fmla="*/ 15 w 1451"/>
                    <a:gd name="T63" fmla="*/ 178 h 1301"/>
                    <a:gd name="T64" fmla="*/ 17 w 1451"/>
                    <a:gd name="T65" fmla="*/ 177 h 1301"/>
                    <a:gd name="T66" fmla="*/ 4 w 1451"/>
                    <a:gd name="T67" fmla="*/ 163 h 1301"/>
                    <a:gd name="T68" fmla="*/ 43 w 1451"/>
                    <a:gd name="T69" fmla="*/ 113 h 1301"/>
                    <a:gd name="T70" fmla="*/ 93 w 1451"/>
                    <a:gd name="T71" fmla="*/ 107 h 1301"/>
                    <a:gd name="T72" fmla="*/ 113 w 1451"/>
                    <a:gd name="T73" fmla="*/ 94 h 1301"/>
                    <a:gd name="T74" fmla="*/ 102 w 1451"/>
                    <a:gd name="T75" fmla="*/ 85 h 1301"/>
                    <a:gd name="T76" fmla="*/ 109 w 1451"/>
                    <a:gd name="T77" fmla="*/ 80 h 1301"/>
                    <a:gd name="T78" fmla="*/ 133 w 1451"/>
                    <a:gd name="T79" fmla="*/ 71 h 1301"/>
                    <a:gd name="T80" fmla="*/ 149 w 1451"/>
                    <a:gd name="T81" fmla="*/ 47 h 1301"/>
                    <a:gd name="T82" fmla="*/ 173 w 1451"/>
                    <a:gd name="T83" fmla="*/ 61 h 1301"/>
                    <a:gd name="T84" fmla="*/ 175 w 1451"/>
                    <a:gd name="T85" fmla="*/ 61 h 1301"/>
                    <a:gd name="T86" fmla="*/ 195 w 1451"/>
                    <a:gd name="T87" fmla="*/ 30 h 1301"/>
                    <a:gd name="T88" fmla="*/ 197 w 1451"/>
                    <a:gd name="T89" fmla="*/ 28 h 1301"/>
                    <a:gd name="T90" fmla="*/ 245 w 1451"/>
                    <a:gd name="T91" fmla="*/ 20 h 1301"/>
                    <a:gd name="T92" fmla="*/ 245 w 1451"/>
                    <a:gd name="T93" fmla="*/ 28 h 1301"/>
                    <a:gd name="T94" fmla="*/ 237 w 1451"/>
                    <a:gd name="T95" fmla="*/ 28 h 1301"/>
                    <a:gd name="T96" fmla="*/ 236 w 1451"/>
                    <a:gd name="T97" fmla="*/ 47 h 1301"/>
                    <a:gd name="T98" fmla="*/ 249 w 1451"/>
                    <a:gd name="T99" fmla="*/ 62 h 1301"/>
                    <a:gd name="T100" fmla="*/ 261 w 1451"/>
                    <a:gd name="T101" fmla="*/ 65 h 1301"/>
                    <a:gd name="T102" fmla="*/ 263 w 1451"/>
                    <a:gd name="T103" fmla="*/ 76 h 1301"/>
                    <a:gd name="T104" fmla="*/ 274 w 1451"/>
                    <a:gd name="T105" fmla="*/ 83 h 1301"/>
                    <a:gd name="T106" fmla="*/ 275 w 1451"/>
                    <a:gd name="T107" fmla="*/ 84 h 1301"/>
                    <a:gd name="T108" fmla="*/ 287 w 1451"/>
                    <a:gd name="T109" fmla="*/ 67 h 1301"/>
                    <a:gd name="T110" fmla="*/ 293 w 1451"/>
                    <a:gd name="T111" fmla="*/ 62 h 1301"/>
                    <a:gd name="T112" fmla="*/ 292 w 1451"/>
                    <a:gd name="T113" fmla="*/ 61 h 1301"/>
                    <a:gd name="T114" fmla="*/ 288 w 1451"/>
                    <a:gd name="T115" fmla="*/ 61 h 1301"/>
                    <a:gd name="T116" fmla="*/ 293 w 1451"/>
                    <a:gd name="T117" fmla="*/ 0 h 1301"/>
                    <a:gd name="T118" fmla="*/ 309 w 1451"/>
                    <a:gd name="T119" fmla="*/ 5 h 1301"/>
                    <a:gd name="T120" fmla="*/ 310 w 1451"/>
                    <a:gd name="T121" fmla="*/ 5 h 13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51"/>
                    <a:gd name="T184" fmla="*/ 0 h 1301"/>
                    <a:gd name="T185" fmla="*/ 1451 w 1451"/>
                    <a:gd name="T186" fmla="*/ 1301 h 13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51" h="1301">
                      <a:moveTo>
                        <a:pt x="1240" y="17"/>
                      </a:moveTo>
                      <a:lnTo>
                        <a:pt x="1255" y="119"/>
                      </a:lnTo>
                      <a:lnTo>
                        <a:pt x="1265" y="161"/>
                      </a:lnTo>
                      <a:lnTo>
                        <a:pt x="1282" y="201"/>
                      </a:lnTo>
                      <a:lnTo>
                        <a:pt x="1328" y="422"/>
                      </a:lnTo>
                      <a:lnTo>
                        <a:pt x="1364" y="449"/>
                      </a:lnTo>
                      <a:lnTo>
                        <a:pt x="1351" y="551"/>
                      </a:lnTo>
                      <a:lnTo>
                        <a:pt x="1368" y="637"/>
                      </a:lnTo>
                      <a:lnTo>
                        <a:pt x="1451" y="668"/>
                      </a:lnTo>
                      <a:lnTo>
                        <a:pt x="1451" y="710"/>
                      </a:lnTo>
                      <a:lnTo>
                        <a:pt x="1434" y="796"/>
                      </a:lnTo>
                      <a:lnTo>
                        <a:pt x="1222" y="1082"/>
                      </a:lnTo>
                      <a:lnTo>
                        <a:pt x="996" y="1267"/>
                      </a:lnTo>
                      <a:lnTo>
                        <a:pt x="862" y="1282"/>
                      </a:lnTo>
                      <a:lnTo>
                        <a:pt x="844" y="1282"/>
                      </a:lnTo>
                      <a:lnTo>
                        <a:pt x="839" y="1288"/>
                      </a:lnTo>
                      <a:lnTo>
                        <a:pt x="839" y="1301"/>
                      </a:lnTo>
                      <a:lnTo>
                        <a:pt x="706" y="1215"/>
                      </a:lnTo>
                      <a:lnTo>
                        <a:pt x="702" y="1215"/>
                      </a:lnTo>
                      <a:lnTo>
                        <a:pt x="771" y="1173"/>
                      </a:lnTo>
                      <a:lnTo>
                        <a:pt x="739" y="1119"/>
                      </a:lnTo>
                      <a:lnTo>
                        <a:pt x="739" y="1109"/>
                      </a:lnTo>
                      <a:lnTo>
                        <a:pt x="771" y="1079"/>
                      </a:lnTo>
                      <a:lnTo>
                        <a:pt x="668" y="977"/>
                      </a:lnTo>
                      <a:lnTo>
                        <a:pt x="597" y="931"/>
                      </a:lnTo>
                      <a:lnTo>
                        <a:pt x="458" y="937"/>
                      </a:lnTo>
                      <a:lnTo>
                        <a:pt x="318" y="1002"/>
                      </a:lnTo>
                      <a:lnTo>
                        <a:pt x="0" y="1021"/>
                      </a:lnTo>
                      <a:lnTo>
                        <a:pt x="17" y="990"/>
                      </a:lnTo>
                      <a:lnTo>
                        <a:pt x="7" y="837"/>
                      </a:lnTo>
                      <a:lnTo>
                        <a:pt x="0" y="727"/>
                      </a:lnTo>
                      <a:lnTo>
                        <a:pt x="63" y="710"/>
                      </a:lnTo>
                      <a:lnTo>
                        <a:pt x="69" y="706"/>
                      </a:lnTo>
                      <a:lnTo>
                        <a:pt x="17" y="651"/>
                      </a:lnTo>
                      <a:lnTo>
                        <a:pt x="172" y="449"/>
                      </a:lnTo>
                      <a:lnTo>
                        <a:pt x="374" y="428"/>
                      </a:lnTo>
                      <a:lnTo>
                        <a:pt x="453" y="376"/>
                      </a:lnTo>
                      <a:lnTo>
                        <a:pt x="409" y="338"/>
                      </a:lnTo>
                      <a:lnTo>
                        <a:pt x="437" y="320"/>
                      </a:lnTo>
                      <a:lnTo>
                        <a:pt x="533" y="284"/>
                      </a:lnTo>
                      <a:lnTo>
                        <a:pt x="597" y="186"/>
                      </a:lnTo>
                      <a:lnTo>
                        <a:pt x="693" y="242"/>
                      </a:lnTo>
                      <a:lnTo>
                        <a:pt x="702" y="242"/>
                      </a:lnTo>
                      <a:lnTo>
                        <a:pt x="781" y="119"/>
                      </a:lnTo>
                      <a:lnTo>
                        <a:pt x="791" y="109"/>
                      </a:lnTo>
                      <a:lnTo>
                        <a:pt x="981" y="77"/>
                      </a:lnTo>
                      <a:lnTo>
                        <a:pt x="981" y="109"/>
                      </a:lnTo>
                      <a:lnTo>
                        <a:pt x="950" y="109"/>
                      </a:lnTo>
                      <a:lnTo>
                        <a:pt x="946" y="186"/>
                      </a:lnTo>
                      <a:lnTo>
                        <a:pt x="998" y="246"/>
                      </a:lnTo>
                      <a:lnTo>
                        <a:pt x="1046" y="257"/>
                      </a:lnTo>
                      <a:lnTo>
                        <a:pt x="1054" y="303"/>
                      </a:lnTo>
                      <a:lnTo>
                        <a:pt x="1096" y="330"/>
                      </a:lnTo>
                      <a:lnTo>
                        <a:pt x="1102" y="334"/>
                      </a:lnTo>
                      <a:lnTo>
                        <a:pt x="1151" y="267"/>
                      </a:lnTo>
                      <a:lnTo>
                        <a:pt x="1174" y="246"/>
                      </a:lnTo>
                      <a:lnTo>
                        <a:pt x="1169" y="242"/>
                      </a:lnTo>
                      <a:lnTo>
                        <a:pt x="1155" y="242"/>
                      </a:lnTo>
                      <a:lnTo>
                        <a:pt x="1174" y="0"/>
                      </a:lnTo>
                      <a:lnTo>
                        <a:pt x="1236" y="17"/>
                      </a:lnTo>
                      <a:lnTo>
                        <a:pt x="1240" y="17"/>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0" name="Freeform 182"/>
                <p:cNvSpPr>
                  <a:spLocks/>
                </p:cNvSpPr>
                <p:nvPr/>
              </p:nvSpPr>
              <p:spPr bwMode="gray">
                <a:xfrm>
                  <a:off x="6724714" y="4799938"/>
                  <a:ext cx="166690" cy="373063"/>
                </a:xfrm>
                <a:custGeom>
                  <a:avLst/>
                  <a:gdLst>
                    <a:gd name="T0" fmla="*/ 52 w 211"/>
                    <a:gd name="T1" fmla="*/ 13 h 470"/>
                    <a:gd name="T2" fmla="*/ 51 w 211"/>
                    <a:gd name="T3" fmla="*/ 25 h 470"/>
                    <a:gd name="T4" fmla="*/ 40 w 211"/>
                    <a:gd name="T5" fmla="*/ 47 h 470"/>
                    <a:gd name="T6" fmla="*/ 28 w 211"/>
                    <a:gd name="T7" fmla="*/ 110 h 470"/>
                    <a:gd name="T8" fmla="*/ 6 w 211"/>
                    <a:gd name="T9" fmla="*/ 118 h 470"/>
                    <a:gd name="T10" fmla="*/ 3 w 211"/>
                    <a:gd name="T11" fmla="*/ 118 h 470"/>
                    <a:gd name="T12" fmla="*/ 0 w 211"/>
                    <a:gd name="T13" fmla="*/ 108 h 470"/>
                    <a:gd name="T14" fmla="*/ 0 w 211"/>
                    <a:gd name="T15" fmla="*/ 78 h 470"/>
                    <a:gd name="T16" fmla="*/ 3 w 211"/>
                    <a:gd name="T17" fmla="*/ 60 h 470"/>
                    <a:gd name="T18" fmla="*/ 3 w 211"/>
                    <a:gd name="T19" fmla="*/ 37 h 470"/>
                    <a:gd name="T20" fmla="*/ 32 w 211"/>
                    <a:gd name="T21" fmla="*/ 15 h 470"/>
                    <a:gd name="T22" fmla="*/ 32 w 211"/>
                    <a:gd name="T23" fmla="*/ 0 h 470"/>
                    <a:gd name="T24" fmla="*/ 48 w 211"/>
                    <a:gd name="T25" fmla="*/ 0 h 470"/>
                    <a:gd name="T26" fmla="*/ 52 w 211"/>
                    <a:gd name="T27" fmla="*/ 13 h 4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1"/>
                    <a:gd name="T43" fmla="*/ 0 h 470"/>
                    <a:gd name="T44" fmla="*/ 211 w 211"/>
                    <a:gd name="T45" fmla="*/ 470 h 4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1" h="470">
                      <a:moveTo>
                        <a:pt x="211" y="52"/>
                      </a:moveTo>
                      <a:lnTo>
                        <a:pt x="207" y="100"/>
                      </a:lnTo>
                      <a:lnTo>
                        <a:pt x="161" y="188"/>
                      </a:lnTo>
                      <a:lnTo>
                        <a:pt x="115" y="438"/>
                      </a:lnTo>
                      <a:lnTo>
                        <a:pt x="25" y="470"/>
                      </a:lnTo>
                      <a:lnTo>
                        <a:pt x="15" y="470"/>
                      </a:lnTo>
                      <a:lnTo>
                        <a:pt x="0" y="432"/>
                      </a:lnTo>
                      <a:lnTo>
                        <a:pt x="3" y="309"/>
                      </a:lnTo>
                      <a:lnTo>
                        <a:pt x="15" y="242"/>
                      </a:lnTo>
                      <a:lnTo>
                        <a:pt x="15" y="146"/>
                      </a:lnTo>
                      <a:lnTo>
                        <a:pt x="130" y="58"/>
                      </a:lnTo>
                      <a:lnTo>
                        <a:pt x="130" y="0"/>
                      </a:lnTo>
                      <a:lnTo>
                        <a:pt x="195" y="0"/>
                      </a:lnTo>
                      <a:lnTo>
                        <a:pt x="211" y="52"/>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1" name="Freeform 183"/>
                <p:cNvSpPr>
                  <a:spLocks/>
                </p:cNvSpPr>
                <p:nvPr/>
              </p:nvSpPr>
              <p:spPr bwMode="gray">
                <a:xfrm>
                  <a:off x="9286972" y="5758788"/>
                  <a:ext cx="100014" cy="58738"/>
                </a:xfrm>
                <a:custGeom>
                  <a:avLst/>
                  <a:gdLst>
                    <a:gd name="T0" fmla="*/ 32 w 125"/>
                    <a:gd name="T1" fmla="*/ 8 h 73"/>
                    <a:gd name="T2" fmla="*/ 13 w 125"/>
                    <a:gd name="T3" fmla="*/ 19 h 73"/>
                    <a:gd name="T4" fmla="*/ 0 w 125"/>
                    <a:gd name="T5" fmla="*/ 9 h 73"/>
                    <a:gd name="T6" fmla="*/ 11 w 125"/>
                    <a:gd name="T7" fmla="*/ 0 h 73"/>
                    <a:gd name="T8" fmla="*/ 24 w 125"/>
                    <a:gd name="T9" fmla="*/ 0 h 73"/>
                    <a:gd name="T10" fmla="*/ 32 w 125"/>
                    <a:gd name="T11" fmla="*/ 8 h 73"/>
                    <a:gd name="T12" fmla="*/ 0 60000 65536"/>
                    <a:gd name="T13" fmla="*/ 0 60000 65536"/>
                    <a:gd name="T14" fmla="*/ 0 60000 65536"/>
                    <a:gd name="T15" fmla="*/ 0 60000 65536"/>
                    <a:gd name="T16" fmla="*/ 0 60000 65536"/>
                    <a:gd name="T17" fmla="*/ 0 60000 65536"/>
                    <a:gd name="T18" fmla="*/ 0 w 125"/>
                    <a:gd name="T19" fmla="*/ 0 h 73"/>
                    <a:gd name="T20" fmla="*/ 125 w 125"/>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125" h="73">
                      <a:moveTo>
                        <a:pt x="125" y="29"/>
                      </a:moveTo>
                      <a:lnTo>
                        <a:pt x="50" y="73"/>
                      </a:lnTo>
                      <a:lnTo>
                        <a:pt x="0" y="33"/>
                      </a:lnTo>
                      <a:lnTo>
                        <a:pt x="44" y="0"/>
                      </a:lnTo>
                      <a:lnTo>
                        <a:pt x="94" y="0"/>
                      </a:lnTo>
                      <a:lnTo>
                        <a:pt x="125" y="29"/>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2" name="Freeform 184"/>
                <p:cNvSpPr>
                  <a:spLocks/>
                </p:cNvSpPr>
                <p:nvPr/>
              </p:nvSpPr>
              <p:spPr bwMode="gray">
                <a:xfrm>
                  <a:off x="9585426" y="5893726"/>
                  <a:ext cx="307979" cy="163513"/>
                </a:xfrm>
                <a:custGeom>
                  <a:avLst/>
                  <a:gdLst>
                    <a:gd name="T0" fmla="*/ 97 w 388"/>
                    <a:gd name="T1" fmla="*/ 1 h 207"/>
                    <a:gd name="T2" fmla="*/ 97 w 388"/>
                    <a:gd name="T3" fmla="*/ 3 h 207"/>
                    <a:gd name="T4" fmla="*/ 37 w 388"/>
                    <a:gd name="T5" fmla="*/ 33 h 207"/>
                    <a:gd name="T6" fmla="*/ 5 w 388"/>
                    <a:gd name="T7" fmla="*/ 51 h 207"/>
                    <a:gd name="T8" fmla="*/ 3 w 388"/>
                    <a:gd name="T9" fmla="*/ 51 h 207"/>
                    <a:gd name="T10" fmla="*/ 0 w 388"/>
                    <a:gd name="T11" fmla="*/ 49 h 207"/>
                    <a:gd name="T12" fmla="*/ 18 w 388"/>
                    <a:gd name="T13" fmla="*/ 31 h 207"/>
                    <a:gd name="T14" fmla="*/ 25 w 388"/>
                    <a:gd name="T15" fmla="*/ 26 h 207"/>
                    <a:gd name="T16" fmla="*/ 42 w 388"/>
                    <a:gd name="T17" fmla="*/ 26 h 207"/>
                    <a:gd name="T18" fmla="*/ 50 w 388"/>
                    <a:gd name="T19" fmla="*/ 4 h 207"/>
                    <a:gd name="T20" fmla="*/ 83 w 388"/>
                    <a:gd name="T21" fmla="*/ 0 h 207"/>
                    <a:gd name="T22" fmla="*/ 96 w 388"/>
                    <a:gd name="T23" fmla="*/ 0 h 207"/>
                    <a:gd name="T24" fmla="*/ 97 w 388"/>
                    <a:gd name="T25" fmla="*/ 1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8"/>
                    <a:gd name="T40" fmla="*/ 0 h 207"/>
                    <a:gd name="T41" fmla="*/ 388 w 388"/>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8" h="207">
                      <a:moveTo>
                        <a:pt x="388" y="4"/>
                      </a:moveTo>
                      <a:lnTo>
                        <a:pt x="388" y="13"/>
                      </a:lnTo>
                      <a:lnTo>
                        <a:pt x="146" y="132"/>
                      </a:lnTo>
                      <a:lnTo>
                        <a:pt x="20" y="207"/>
                      </a:lnTo>
                      <a:lnTo>
                        <a:pt x="14" y="207"/>
                      </a:lnTo>
                      <a:lnTo>
                        <a:pt x="0" y="196"/>
                      </a:lnTo>
                      <a:lnTo>
                        <a:pt x="71" y="127"/>
                      </a:lnTo>
                      <a:lnTo>
                        <a:pt x="102" y="104"/>
                      </a:lnTo>
                      <a:lnTo>
                        <a:pt x="166" y="104"/>
                      </a:lnTo>
                      <a:lnTo>
                        <a:pt x="200" y="19"/>
                      </a:lnTo>
                      <a:lnTo>
                        <a:pt x="331" y="0"/>
                      </a:lnTo>
                      <a:lnTo>
                        <a:pt x="384" y="0"/>
                      </a:lnTo>
                      <a:lnTo>
                        <a:pt x="388" y="4"/>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3" name="Freeform 185"/>
                <p:cNvSpPr>
                  <a:spLocks/>
                </p:cNvSpPr>
                <p:nvPr/>
              </p:nvSpPr>
              <p:spPr bwMode="gray">
                <a:xfrm>
                  <a:off x="9907692" y="5628613"/>
                  <a:ext cx="120652" cy="263525"/>
                </a:xfrm>
                <a:custGeom>
                  <a:avLst/>
                  <a:gdLst>
                    <a:gd name="T0" fmla="*/ 2 w 152"/>
                    <a:gd name="T1" fmla="*/ 10 h 332"/>
                    <a:gd name="T2" fmla="*/ 5 w 152"/>
                    <a:gd name="T3" fmla="*/ 13 h 332"/>
                    <a:gd name="T4" fmla="*/ 21 w 152"/>
                    <a:gd name="T5" fmla="*/ 15 h 332"/>
                    <a:gd name="T6" fmla="*/ 21 w 152"/>
                    <a:gd name="T7" fmla="*/ 15 h 332"/>
                    <a:gd name="T8" fmla="*/ 24 w 152"/>
                    <a:gd name="T9" fmla="*/ 18 h 332"/>
                    <a:gd name="T10" fmla="*/ 28 w 152"/>
                    <a:gd name="T11" fmla="*/ 49 h 332"/>
                    <a:gd name="T12" fmla="*/ 38 w 152"/>
                    <a:gd name="T13" fmla="*/ 55 h 332"/>
                    <a:gd name="T14" fmla="*/ 38 w 152"/>
                    <a:gd name="T15" fmla="*/ 62 h 332"/>
                    <a:gd name="T16" fmla="*/ 36 w 152"/>
                    <a:gd name="T17" fmla="*/ 70 h 332"/>
                    <a:gd name="T18" fmla="*/ 5 w 152"/>
                    <a:gd name="T19" fmla="*/ 83 h 332"/>
                    <a:gd name="T20" fmla="*/ 11 w 152"/>
                    <a:gd name="T21" fmla="*/ 79 h 332"/>
                    <a:gd name="T22" fmla="*/ 5 w 152"/>
                    <a:gd name="T23" fmla="*/ 68 h 332"/>
                    <a:gd name="T24" fmla="*/ 5 w 152"/>
                    <a:gd name="T25" fmla="*/ 68 h 332"/>
                    <a:gd name="T26" fmla="*/ 5 w 152"/>
                    <a:gd name="T27" fmla="*/ 66 h 332"/>
                    <a:gd name="T28" fmla="*/ 19 w 152"/>
                    <a:gd name="T29" fmla="*/ 57 h 332"/>
                    <a:gd name="T30" fmla="*/ 24 w 152"/>
                    <a:gd name="T31" fmla="*/ 40 h 332"/>
                    <a:gd name="T32" fmla="*/ 0 w 152"/>
                    <a:gd name="T33" fmla="*/ 13 h 332"/>
                    <a:gd name="T34" fmla="*/ 0 w 152"/>
                    <a:gd name="T35" fmla="*/ 0 h 332"/>
                    <a:gd name="T36" fmla="*/ 2 w 152"/>
                    <a:gd name="T37" fmla="*/ 10 h 332"/>
                    <a:gd name="T38" fmla="*/ 2 w 152"/>
                    <a:gd name="T39" fmla="*/ 10 h 3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2"/>
                    <a:gd name="T61" fmla="*/ 0 h 332"/>
                    <a:gd name="T62" fmla="*/ 152 w 152"/>
                    <a:gd name="T63" fmla="*/ 332 h 3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2" h="332">
                      <a:moveTo>
                        <a:pt x="8" y="42"/>
                      </a:moveTo>
                      <a:lnTo>
                        <a:pt x="18" y="52"/>
                      </a:lnTo>
                      <a:lnTo>
                        <a:pt x="85" y="61"/>
                      </a:lnTo>
                      <a:lnTo>
                        <a:pt x="87" y="61"/>
                      </a:lnTo>
                      <a:lnTo>
                        <a:pt x="96" y="71"/>
                      </a:lnTo>
                      <a:lnTo>
                        <a:pt x="114" y="196"/>
                      </a:lnTo>
                      <a:lnTo>
                        <a:pt x="152" y="221"/>
                      </a:lnTo>
                      <a:lnTo>
                        <a:pt x="152" y="251"/>
                      </a:lnTo>
                      <a:lnTo>
                        <a:pt x="143" y="280"/>
                      </a:lnTo>
                      <a:lnTo>
                        <a:pt x="22" y="332"/>
                      </a:lnTo>
                      <a:lnTo>
                        <a:pt x="47" y="315"/>
                      </a:lnTo>
                      <a:lnTo>
                        <a:pt x="22" y="271"/>
                      </a:lnTo>
                      <a:lnTo>
                        <a:pt x="18" y="271"/>
                      </a:lnTo>
                      <a:lnTo>
                        <a:pt x="18" y="261"/>
                      </a:lnTo>
                      <a:lnTo>
                        <a:pt x="75" y="228"/>
                      </a:lnTo>
                      <a:lnTo>
                        <a:pt x="96" y="157"/>
                      </a:lnTo>
                      <a:lnTo>
                        <a:pt x="0" y="52"/>
                      </a:lnTo>
                      <a:lnTo>
                        <a:pt x="0" y="0"/>
                      </a:lnTo>
                      <a:lnTo>
                        <a:pt x="8" y="38"/>
                      </a:lnTo>
                      <a:lnTo>
                        <a:pt x="8" y="42"/>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4" name="Freeform 186"/>
                <p:cNvSpPr>
                  <a:spLocks/>
                </p:cNvSpPr>
                <p:nvPr/>
              </p:nvSpPr>
              <p:spPr bwMode="gray">
                <a:xfrm>
                  <a:off x="8850404" y="3423576"/>
                  <a:ext cx="11113" cy="71438"/>
                </a:xfrm>
                <a:custGeom>
                  <a:avLst/>
                  <a:gdLst>
                    <a:gd name="T0" fmla="*/ 3 w 16"/>
                    <a:gd name="T1" fmla="*/ 3 h 90"/>
                    <a:gd name="T2" fmla="*/ 3 w 16"/>
                    <a:gd name="T3" fmla="*/ 23 h 90"/>
                    <a:gd name="T4" fmla="*/ 0 w 16"/>
                    <a:gd name="T5" fmla="*/ 23 h 90"/>
                    <a:gd name="T6" fmla="*/ 1 w 16"/>
                    <a:gd name="T7" fmla="*/ 0 h 90"/>
                    <a:gd name="T8" fmla="*/ 2 w 16"/>
                    <a:gd name="T9" fmla="*/ 0 h 90"/>
                    <a:gd name="T10" fmla="*/ 3 w 16"/>
                    <a:gd name="T11" fmla="*/ 3 h 90"/>
                    <a:gd name="T12" fmla="*/ 0 60000 65536"/>
                    <a:gd name="T13" fmla="*/ 0 60000 65536"/>
                    <a:gd name="T14" fmla="*/ 0 60000 65536"/>
                    <a:gd name="T15" fmla="*/ 0 60000 65536"/>
                    <a:gd name="T16" fmla="*/ 0 60000 65536"/>
                    <a:gd name="T17" fmla="*/ 0 60000 65536"/>
                    <a:gd name="T18" fmla="*/ 0 w 16"/>
                    <a:gd name="T19" fmla="*/ 0 h 90"/>
                    <a:gd name="T20" fmla="*/ 16 w 16"/>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6" h="90">
                      <a:moveTo>
                        <a:pt x="16" y="11"/>
                      </a:moveTo>
                      <a:lnTo>
                        <a:pt x="16" y="90"/>
                      </a:lnTo>
                      <a:lnTo>
                        <a:pt x="0" y="90"/>
                      </a:lnTo>
                      <a:lnTo>
                        <a:pt x="6" y="0"/>
                      </a:lnTo>
                      <a:lnTo>
                        <a:pt x="10" y="0"/>
                      </a:lnTo>
                      <a:lnTo>
                        <a:pt x="16" y="11"/>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5" name="Freeform 187"/>
                <p:cNvSpPr>
                  <a:spLocks/>
                </p:cNvSpPr>
                <p:nvPr/>
              </p:nvSpPr>
              <p:spPr bwMode="gray">
                <a:xfrm>
                  <a:off x="8880567" y="3661701"/>
                  <a:ext cx="131764" cy="134938"/>
                </a:xfrm>
                <a:custGeom>
                  <a:avLst/>
                  <a:gdLst>
                    <a:gd name="T0" fmla="*/ 23 w 167"/>
                    <a:gd name="T1" fmla="*/ 8 h 171"/>
                    <a:gd name="T2" fmla="*/ 19 w 167"/>
                    <a:gd name="T3" fmla="*/ 21 h 171"/>
                    <a:gd name="T4" fmla="*/ 23 w 167"/>
                    <a:gd name="T5" fmla="*/ 29 h 171"/>
                    <a:gd name="T6" fmla="*/ 41 w 167"/>
                    <a:gd name="T7" fmla="*/ 38 h 171"/>
                    <a:gd name="T8" fmla="*/ 41 w 167"/>
                    <a:gd name="T9" fmla="*/ 38 h 171"/>
                    <a:gd name="T10" fmla="*/ 19 w 167"/>
                    <a:gd name="T11" fmla="*/ 42 h 171"/>
                    <a:gd name="T12" fmla="*/ 0 w 167"/>
                    <a:gd name="T13" fmla="*/ 21 h 171"/>
                    <a:gd name="T14" fmla="*/ 6 w 167"/>
                    <a:gd name="T15" fmla="*/ 21 h 171"/>
                    <a:gd name="T16" fmla="*/ 6 w 167"/>
                    <a:gd name="T17" fmla="*/ 18 h 171"/>
                    <a:gd name="T18" fmla="*/ 0 w 167"/>
                    <a:gd name="T19" fmla="*/ 0 h 171"/>
                    <a:gd name="T20" fmla="*/ 15 w 167"/>
                    <a:gd name="T21" fmla="*/ 0 h 171"/>
                    <a:gd name="T22" fmla="*/ 23 w 167"/>
                    <a:gd name="T23" fmla="*/ 8 h 1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7"/>
                    <a:gd name="T37" fmla="*/ 0 h 171"/>
                    <a:gd name="T38" fmla="*/ 167 w 167"/>
                    <a:gd name="T39" fmla="*/ 171 h 1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7" h="171">
                      <a:moveTo>
                        <a:pt x="92" y="35"/>
                      </a:moveTo>
                      <a:lnTo>
                        <a:pt x="78" y="87"/>
                      </a:lnTo>
                      <a:lnTo>
                        <a:pt x="92" y="119"/>
                      </a:lnTo>
                      <a:lnTo>
                        <a:pt x="165" y="152"/>
                      </a:lnTo>
                      <a:lnTo>
                        <a:pt x="167" y="152"/>
                      </a:lnTo>
                      <a:lnTo>
                        <a:pt x="78" y="171"/>
                      </a:lnTo>
                      <a:lnTo>
                        <a:pt x="0" y="87"/>
                      </a:lnTo>
                      <a:lnTo>
                        <a:pt x="27" y="87"/>
                      </a:lnTo>
                      <a:lnTo>
                        <a:pt x="27" y="73"/>
                      </a:lnTo>
                      <a:lnTo>
                        <a:pt x="0" y="0"/>
                      </a:lnTo>
                      <a:lnTo>
                        <a:pt x="61" y="0"/>
                      </a:lnTo>
                      <a:lnTo>
                        <a:pt x="92" y="35"/>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6" name="Freeform 188"/>
                <p:cNvSpPr>
                  <a:spLocks/>
                </p:cNvSpPr>
                <p:nvPr/>
              </p:nvSpPr>
              <p:spPr bwMode="gray">
                <a:xfrm>
                  <a:off x="9036144" y="3826801"/>
                  <a:ext cx="39688" cy="47625"/>
                </a:xfrm>
                <a:custGeom>
                  <a:avLst/>
                  <a:gdLst>
                    <a:gd name="T0" fmla="*/ 13 w 49"/>
                    <a:gd name="T1" fmla="*/ 14 h 59"/>
                    <a:gd name="T2" fmla="*/ 6 w 49"/>
                    <a:gd name="T3" fmla="*/ 15 h 59"/>
                    <a:gd name="T4" fmla="*/ 4 w 49"/>
                    <a:gd name="T5" fmla="*/ 15 h 59"/>
                    <a:gd name="T6" fmla="*/ 0 w 49"/>
                    <a:gd name="T7" fmla="*/ 11 h 59"/>
                    <a:gd name="T8" fmla="*/ 4 w 49"/>
                    <a:gd name="T9" fmla="*/ 0 h 59"/>
                    <a:gd name="T10" fmla="*/ 13 w 49"/>
                    <a:gd name="T11" fmla="*/ 10 h 59"/>
                    <a:gd name="T12" fmla="*/ 13 w 49"/>
                    <a:gd name="T13" fmla="*/ 14 h 59"/>
                    <a:gd name="T14" fmla="*/ 0 60000 65536"/>
                    <a:gd name="T15" fmla="*/ 0 60000 65536"/>
                    <a:gd name="T16" fmla="*/ 0 60000 65536"/>
                    <a:gd name="T17" fmla="*/ 0 60000 65536"/>
                    <a:gd name="T18" fmla="*/ 0 60000 65536"/>
                    <a:gd name="T19" fmla="*/ 0 60000 65536"/>
                    <a:gd name="T20" fmla="*/ 0 60000 65536"/>
                    <a:gd name="T21" fmla="*/ 0 w 49"/>
                    <a:gd name="T22" fmla="*/ 0 h 59"/>
                    <a:gd name="T23" fmla="*/ 49 w 49"/>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59">
                      <a:moveTo>
                        <a:pt x="49" y="53"/>
                      </a:moveTo>
                      <a:lnTo>
                        <a:pt x="21" y="59"/>
                      </a:lnTo>
                      <a:lnTo>
                        <a:pt x="13" y="59"/>
                      </a:lnTo>
                      <a:lnTo>
                        <a:pt x="0" y="44"/>
                      </a:lnTo>
                      <a:lnTo>
                        <a:pt x="13" y="0"/>
                      </a:lnTo>
                      <a:lnTo>
                        <a:pt x="49" y="40"/>
                      </a:lnTo>
                      <a:lnTo>
                        <a:pt x="49" y="53"/>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7" name="Freeform 189"/>
                <p:cNvSpPr>
                  <a:spLocks/>
                </p:cNvSpPr>
                <p:nvPr/>
              </p:nvSpPr>
              <p:spPr bwMode="gray">
                <a:xfrm>
                  <a:off x="9031381" y="3949038"/>
                  <a:ext cx="127002" cy="131763"/>
                </a:xfrm>
                <a:custGeom>
                  <a:avLst/>
                  <a:gdLst>
                    <a:gd name="T0" fmla="*/ 40 w 161"/>
                    <a:gd name="T1" fmla="*/ 25 h 165"/>
                    <a:gd name="T2" fmla="*/ 25 w 161"/>
                    <a:gd name="T3" fmla="*/ 42 h 165"/>
                    <a:gd name="T4" fmla="*/ 16 w 161"/>
                    <a:gd name="T5" fmla="*/ 21 h 165"/>
                    <a:gd name="T6" fmla="*/ 0 w 161"/>
                    <a:gd name="T7" fmla="*/ 21 h 165"/>
                    <a:gd name="T8" fmla="*/ 0 w 161"/>
                    <a:gd name="T9" fmla="*/ 9 h 165"/>
                    <a:gd name="T10" fmla="*/ 20 w 161"/>
                    <a:gd name="T11" fmla="*/ 9 h 165"/>
                    <a:gd name="T12" fmla="*/ 23 w 161"/>
                    <a:gd name="T13" fmla="*/ 0 h 165"/>
                    <a:gd name="T14" fmla="*/ 39 w 161"/>
                    <a:gd name="T15" fmla="*/ 8 h 165"/>
                    <a:gd name="T16" fmla="*/ 40 w 161"/>
                    <a:gd name="T17" fmla="*/ 25 h 1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1"/>
                    <a:gd name="T28" fmla="*/ 0 h 165"/>
                    <a:gd name="T29" fmla="*/ 161 w 161"/>
                    <a:gd name="T30" fmla="*/ 165 h 1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1" h="165">
                      <a:moveTo>
                        <a:pt x="161" y="100"/>
                      </a:moveTo>
                      <a:lnTo>
                        <a:pt x="100" y="165"/>
                      </a:lnTo>
                      <a:lnTo>
                        <a:pt x="65" y="81"/>
                      </a:lnTo>
                      <a:lnTo>
                        <a:pt x="0" y="81"/>
                      </a:lnTo>
                      <a:lnTo>
                        <a:pt x="0" y="33"/>
                      </a:lnTo>
                      <a:lnTo>
                        <a:pt x="80" y="33"/>
                      </a:lnTo>
                      <a:lnTo>
                        <a:pt x="94" y="0"/>
                      </a:lnTo>
                      <a:lnTo>
                        <a:pt x="157" y="31"/>
                      </a:lnTo>
                      <a:lnTo>
                        <a:pt x="161" y="100"/>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8" name="Freeform 190"/>
                <p:cNvSpPr>
                  <a:spLocks/>
                </p:cNvSpPr>
                <p:nvPr/>
              </p:nvSpPr>
              <p:spPr bwMode="gray">
                <a:xfrm>
                  <a:off x="7721677" y="4022063"/>
                  <a:ext cx="85726" cy="87313"/>
                </a:xfrm>
                <a:custGeom>
                  <a:avLst/>
                  <a:gdLst>
                    <a:gd name="T0" fmla="*/ 27 w 107"/>
                    <a:gd name="T1" fmla="*/ 9 h 110"/>
                    <a:gd name="T2" fmla="*/ 20 w 107"/>
                    <a:gd name="T3" fmla="*/ 19 h 110"/>
                    <a:gd name="T4" fmla="*/ 25 w 107"/>
                    <a:gd name="T5" fmla="*/ 23 h 110"/>
                    <a:gd name="T6" fmla="*/ 27 w 107"/>
                    <a:gd name="T7" fmla="*/ 24 h 110"/>
                    <a:gd name="T8" fmla="*/ 19 w 107"/>
                    <a:gd name="T9" fmla="*/ 28 h 110"/>
                    <a:gd name="T10" fmla="*/ 16 w 107"/>
                    <a:gd name="T11" fmla="*/ 28 h 110"/>
                    <a:gd name="T12" fmla="*/ 2 w 107"/>
                    <a:gd name="T13" fmla="*/ 3 h 110"/>
                    <a:gd name="T14" fmla="*/ 0 w 107"/>
                    <a:gd name="T15" fmla="*/ 1 h 110"/>
                    <a:gd name="T16" fmla="*/ 2 w 107"/>
                    <a:gd name="T17" fmla="*/ 0 h 110"/>
                    <a:gd name="T18" fmla="*/ 17 w 107"/>
                    <a:gd name="T19" fmla="*/ 1 h 110"/>
                    <a:gd name="T20" fmla="*/ 27 w 107"/>
                    <a:gd name="T21" fmla="*/ 9 h 1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
                    <a:gd name="T34" fmla="*/ 0 h 110"/>
                    <a:gd name="T35" fmla="*/ 107 w 107"/>
                    <a:gd name="T36" fmla="*/ 110 h 1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 h="110">
                      <a:moveTo>
                        <a:pt x="107" y="35"/>
                      </a:moveTo>
                      <a:lnTo>
                        <a:pt x="79" y="75"/>
                      </a:lnTo>
                      <a:lnTo>
                        <a:pt x="98" y="90"/>
                      </a:lnTo>
                      <a:lnTo>
                        <a:pt x="107" y="96"/>
                      </a:lnTo>
                      <a:lnTo>
                        <a:pt x="73" y="110"/>
                      </a:lnTo>
                      <a:lnTo>
                        <a:pt x="63" y="110"/>
                      </a:lnTo>
                      <a:lnTo>
                        <a:pt x="8" y="10"/>
                      </a:lnTo>
                      <a:lnTo>
                        <a:pt x="0" y="4"/>
                      </a:lnTo>
                      <a:lnTo>
                        <a:pt x="6" y="0"/>
                      </a:lnTo>
                      <a:lnTo>
                        <a:pt x="67" y="4"/>
                      </a:lnTo>
                      <a:lnTo>
                        <a:pt x="107" y="35"/>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79" name="Freeform 191"/>
                <p:cNvSpPr>
                  <a:spLocks/>
                </p:cNvSpPr>
                <p:nvPr/>
              </p:nvSpPr>
              <p:spPr bwMode="gray">
                <a:xfrm>
                  <a:off x="8945655" y="4247488"/>
                  <a:ext cx="171452" cy="204788"/>
                </a:xfrm>
                <a:custGeom>
                  <a:avLst/>
                  <a:gdLst>
                    <a:gd name="T0" fmla="*/ 54 w 215"/>
                    <a:gd name="T1" fmla="*/ 8 h 257"/>
                    <a:gd name="T2" fmla="*/ 23 w 215"/>
                    <a:gd name="T3" fmla="*/ 9 h 257"/>
                    <a:gd name="T4" fmla="*/ 23 w 215"/>
                    <a:gd name="T5" fmla="*/ 13 h 257"/>
                    <a:gd name="T6" fmla="*/ 24 w 215"/>
                    <a:gd name="T7" fmla="*/ 18 h 257"/>
                    <a:gd name="T8" fmla="*/ 25 w 215"/>
                    <a:gd name="T9" fmla="*/ 17 h 257"/>
                    <a:gd name="T10" fmla="*/ 25 w 215"/>
                    <a:gd name="T11" fmla="*/ 13 h 257"/>
                    <a:gd name="T12" fmla="*/ 30 w 215"/>
                    <a:gd name="T13" fmla="*/ 29 h 257"/>
                    <a:gd name="T14" fmla="*/ 30 w 215"/>
                    <a:gd name="T15" fmla="*/ 32 h 257"/>
                    <a:gd name="T16" fmla="*/ 26 w 215"/>
                    <a:gd name="T17" fmla="*/ 35 h 257"/>
                    <a:gd name="T18" fmla="*/ 42 w 215"/>
                    <a:gd name="T19" fmla="*/ 57 h 257"/>
                    <a:gd name="T20" fmla="*/ 26 w 215"/>
                    <a:gd name="T21" fmla="*/ 57 h 257"/>
                    <a:gd name="T22" fmla="*/ 24 w 215"/>
                    <a:gd name="T23" fmla="*/ 53 h 257"/>
                    <a:gd name="T24" fmla="*/ 11 w 215"/>
                    <a:gd name="T25" fmla="*/ 53 h 257"/>
                    <a:gd name="T26" fmla="*/ 10 w 215"/>
                    <a:gd name="T27" fmla="*/ 61 h 257"/>
                    <a:gd name="T28" fmla="*/ 10 w 215"/>
                    <a:gd name="T29" fmla="*/ 65 h 257"/>
                    <a:gd name="T30" fmla="*/ 0 w 215"/>
                    <a:gd name="T31" fmla="*/ 47 h 257"/>
                    <a:gd name="T32" fmla="*/ 10 w 215"/>
                    <a:gd name="T33" fmla="*/ 13 h 257"/>
                    <a:gd name="T34" fmla="*/ 10 w 215"/>
                    <a:gd name="T35" fmla="*/ 4 h 257"/>
                    <a:gd name="T36" fmla="*/ 24 w 215"/>
                    <a:gd name="T37" fmla="*/ 0 h 257"/>
                    <a:gd name="T38" fmla="*/ 51 w 215"/>
                    <a:gd name="T39" fmla="*/ 0 h 257"/>
                    <a:gd name="T40" fmla="*/ 54 w 215"/>
                    <a:gd name="T41" fmla="*/ 8 h 2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5"/>
                    <a:gd name="T64" fmla="*/ 0 h 257"/>
                    <a:gd name="T65" fmla="*/ 215 w 215"/>
                    <a:gd name="T66" fmla="*/ 257 h 2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5" h="257">
                      <a:moveTo>
                        <a:pt x="215" y="29"/>
                      </a:moveTo>
                      <a:lnTo>
                        <a:pt x="90" y="33"/>
                      </a:lnTo>
                      <a:lnTo>
                        <a:pt x="90" y="50"/>
                      </a:lnTo>
                      <a:lnTo>
                        <a:pt x="94" y="71"/>
                      </a:lnTo>
                      <a:lnTo>
                        <a:pt x="100" y="65"/>
                      </a:lnTo>
                      <a:lnTo>
                        <a:pt x="100" y="52"/>
                      </a:lnTo>
                      <a:lnTo>
                        <a:pt x="117" y="115"/>
                      </a:lnTo>
                      <a:lnTo>
                        <a:pt x="117" y="125"/>
                      </a:lnTo>
                      <a:lnTo>
                        <a:pt x="104" y="138"/>
                      </a:lnTo>
                      <a:lnTo>
                        <a:pt x="167" y="227"/>
                      </a:lnTo>
                      <a:lnTo>
                        <a:pt x="104" y="227"/>
                      </a:lnTo>
                      <a:lnTo>
                        <a:pt x="94" y="209"/>
                      </a:lnTo>
                      <a:lnTo>
                        <a:pt x="41" y="209"/>
                      </a:lnTo>
                      <a:lnTo>
                        <a:pt x="39" y="244"/>
                      </a:lnTo>
                      <a:lnTo>
                        <a:pt x="39" y="257"/>
                      </a:lnTo>
                      <a:lnTo>
                        <a:pt x="0" y="188"/>
                      </a:lnTo>
                      <a:lnTo>
                        <a:pt x="39" y="50"/>
                      </a:lnTo>
                      <a:lnTo>
                        <a:pt x="39" y="16"/>
                      </a:lnTo>
                      <a:lnTo>
                        <a:pt x="94" y="0"/>
                      </a:lnTo>
                      <a:lnTo>
                        <a:pt x="202" y="0"/>
                      </a:lnTo>
                      <a:lnTo>
                        <a:pt x="215" y="29"/>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0" name="Freeform 192"/>
                <p:cNvSpPr>
                  <a:spLocks/>
                </p:cNvSpPr>
                <p:nvPr/>
              </p:nvSpPr>
              <p:spPr bwMode="gray">
                <a:xfrm>
                  <a:off x="9869592" y="4428463"/>
                  <a:ext cx="122239" cy="58738"/>
                </a:xfrm>
                <a:custGeom>
                  <a:avLst/>
                  <a:gdLst>
                    <a:gd name="T0" fmla="*/ 30 w 154"/>
                    <a:gd name="T1" fmla="*/ 11 h 73"/>
                    <a:gd name="T2" fmla="*/ 13 w 154"/>
                    <a:gd name="T3" fmla="*/ 19 h 73"/>
                    <a:gd name="T4" fmla="*/ 0 w 154"/>
                    <a:gd name="T5" fmla="*/ 15 h 73"/>
                    <a:gd name="T6" fmla="*/ 7 w 154"/>
                    <a:gd name="T7" fmla="*/ 11 h 73"/>
                    <a:gd name="T8" fmla="*/ 12 w 154"/>
                    <a:gd name="T9" fmla="*/ 10 h 73"/>
                    <a:gd name="T10" fmla="*/ 15 w 154"/>
                    <a:gd name="T11" fmla="*/ 10 h 73"/>
                    <a:gd name="T12" fmla="*/ 30 w 154"/>
                    <a:gd name="T13" fmla="*/ 0 h 73"/>
                    <a:gd name="T14" fmla="*/ 39 w 154"/>
                    <a:gd name="T15" fmla="*/ 10 h 73"/>
                    <a:gd name="T16" fmla="*/ 30 w 154"/>
                    <a:gd name="T17" fmla="*/ 11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4"/>
                    <a:gd name="T28" fmla="*/ 0 h 73"/>
                    <a:gd name="T29" fmla="*/ 154 w 154"/>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4" h="73">
                      <a:moveTo>
                        <a:pt x="120" y="42"/>
                      </a:moveTo>
                      <a:lnTo>
                        <a:pt x="54" y="73"/>
                      </a:lnTo>
                      <a:lnTo>
                        <a:pt x="0" y="59"/>
                      </a:lnTo>
                      <a:lnTo>
                        <a:pt x="31" y="42"/>
                      </a:lnTo>
                      <a:lnTo>
                        <a:pt x="48" y="40"/>
                      </a:lnTo>
                      <a:lnTo>
                        <a:pt x="62" y="40"/>
                      </a:lnTo>
                      <a:lnTo>
                        <a:pt x="120" y="0"/>
                      </a:lnTo>
                      <a:lnTo>
                        <a:pt x="154" y="38"/>
                      </a:lnTo>
                      <a:lnTo>
                        <a:pt x="120" y="42"/>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1" name="Freeform 193"/>
                <p:cNvSpPr>
                  <a:spLocks/>
                </p:cNvSpPr>
                <p:nvPr/>
              </p:nvSpPr>
              <p:spPr bwMode="gray">
                <a:xfrm>
                  <a:off x="8880567" y="4501488"/>
                  <a:ext cx="306391" cy="134938"/>
                </a:xfrm>
                <a:custGeom>
                  <a:avLst/>
                  <a:gdLst>
                    <a:gd name="T0" fmla="*/ 97 w 386"/>
                    <a:gd name="T1" fmla="*/ 18 h 169"/>
                    <a:gd name="T2" fmla="*/ 90 w 386"/>
                    <a:gd name="T3" fmla="*/ 20 h 169"/>
                    <a:gd name="T4" fmla="*/ 76 w 386"/>
                    <a:gd name="T5" fmla="*/ 43 h 169"/>
                    <a:gd name="T6" fmla="*/ 57 w 386"/>
                    <a:gd name="T7" fmla="*/ 26 h 169"/>
                    <a:gd name="T8" fmla="*/ 51 w 386"/>
                    <a:gd name="T9" fmla="*/ 23 h 169"/>
                    <a:gd name="T10" fmla="*/ 50 w 386"/>
                    <a:gd name="T11" fmla="*/ 22 h 169"/>
                    <a:gd name="T12" fmla="*/ 43 w 386"/>
                    <a:gd name="T13" fmla="*/ 33 h 169"/>
                    <a:gd name="T14" fmla="*/ 43 w 386"/>
                    <a:gd name="T15" fmla="*/ 24 h 169"/>
                    <a:gd name="T16" fmla="*/ 41 w 386"/>
                    <a:gd name="T17" fmla="*/ 23 h 169"/>
                    <a:gd name="T18" fmla="*/ 29 w 386"/>
                    <a:gd name="T19" fmla="*/ 34 h 169"/>
                    <a:gd name="T20" fmla="*/ 21 w 386"/>
                    <a:gd name="T21" fmla="*/ 34 h 169"/>
                    <a:gd name="T22" fmla="*/ 19 w 386"/>
                    <a:gd name="T23" fmla="*/ 22 h 169"/>
                    <a:gd name="T24" fmla="*/ 2 w 386"/>
                    <a:gd name="T25" fmla="*/ 25 h 169"/>
                    <a:gd name="T26" fmla="*/ 1 w 386"/>
                    <a:gd name="T27" fmla="*/ 26 h 169"/>
                    <a:gd name="T28" fmla="*/ 0 w 386"/>
                    <a:gd name="T29" fmla="*/ 25 h 169"/>
                    <a:gd name="T30" fmla="*/ 7 w 386"/>
                    <a:gd name="T31" fmla="*/ 17 h 169"/>
                    <a:gd name="T32" fmla="*/ 62 w 386"/>
                    <a:gd name="T33" fmla="*/ 17 h 169"/>
                    <a:gd name="T34" fmla="*/ 70 w 386"/>
                    <a:gd name="T35" fmla="*/ 20 h 169"/>
                    <a:gd name="T36" fmla="*/ 72 w 386"/>
                    <a:gd name="T37" fmla="*/ 20 h 169"/>
                    <a:gd name="T38" fmla="*/ 77 w 386"/>
                    <a:gd name="T39" fmla="*/ 17 h 169"/>
                    <a:gd name="T40" fmla="*/ 88 w 386"/>
                    <a:gd name="T41" fmla="*/ 17 h 169"/>
                    <a:gd name="T42" fmla="*/ 90 w 386"/>
                    <a:gd name="T43" fmla="*/ 15 h 169"/>
                    <a:gd name="T44" fmla="*/ 93 w 386"/>
                    <a:gd name="T45" fmla="*/ 0 h 169"/>
                    <a:gd name="T46" fmla="*/ 97 w 386"/>
                    <a:gd name="T47" fmla="*/ 14 h 169"/>
                    <a:gd name="T48" fmla="*/ 97 w 386"/>
                    <a:gd name="T49" fmla="*/ 18 h 1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6"/>
                    <a:gd name="T76" fmla="*/ 0 h 169"/>
                    <a:gd name="T77" fmla="*/ 386 w 386"/>
                    <a:gd name="T78" fmla="*/ 169 h 16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6" h="169">
                      <a:moveTo>
                        <a:pt x="386" y="69"/>
                      </a:moveTo>
                      <a:lnTo>
                        <a:pt x="359" y="80"/>
                      </a:lnTo>
                      <a:lnTo>
                        <a:pt x="301" y="169"/>
                      </a:lnTo>
                      <a:lnTo>
                        <a:pt x="228" y="101"/>
                      </a:lnTo>
                      <a:lnTo>
                        <a:pt x="207" y="90"/>
                      </a:lnTo>
                      <a:lnTo>
                        <a:pt x="203" y="86"/>
                      </a:lnTo>
                      <a:lnTo>
                        <a:pt x="169" y="130"/>
                      </a:lnTo>
                      <a:lnTo>
                        <a:pt x="169" y="96"/>
                      </a:lnTo>
                      <a:lnTo>
                        <a:pt x="163" y="90"/>
                      </a:lnTo>
                      <a:lnTo>
                        <a:pt x="119" y="136"/>
                      </a:lnTo>
                      <a:lnTo>
                        <a:pt x="84" y="136"/>
                      </a:lnTo>
                      <a:lnTo>
                        <a:pt x="75" y="86"/>
                      </a:lnTo>
                      <a:lnTo>
                        <a:pt x="7" y="98"/>
                      </a:lnTo>
                      <a:lnTo>
                        <a:pt x="4" y="101"/>
                      </a:lnTo>
                      <a:lnTo>
                        <a:pt x="0" y="98"/>
                      </a:lnTo>
                      <a:lnTo>
                        <a:pt x="30" y="67"/>
                      </a:lnTo>
                      <a:lnTo>
                        <a:pt x="251" y="67"/>
                      </a:lnTo>
                      <a:lnTo>
                        <a:pt x="278" y="80"/>
                      </a:lnTo>
                      <a:lnTo>
                        <a:pt x="288" y="80"/>
                      </a:lnTo>
                      <a:lnTo>
                        <a:pt x="305" y="67"/>
                      </a:lnTo>
                      <a:lnTo>
                        <a:pt x="349" y="67"/>
                      </a:lnTo>
                      <a:lnTo>
                        <a:pt x="359" y="57"/>
                      </a:lnTo>
                      <a:lnTo>
                        <a:pt x="370" y="0"/>
                      </a:lnTo>
                      <a:lnTo>
                        <a:pt x="386" y="53"/>
                      </a:lnTo>
                      <a:lnTo>
                        <a:pt x="386" y="69"/>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2" name="Freeform 194"/>
                <p:cNvSpPr>
                  <a:spLocks/>
                </p:cNvSpPr>
                <p:nvPr/>
              </p:nvSpPr>
              <p:spPr bwMode="gray">
                <a:xfrm>
                  <a:off x="8572588" y="4515776"/>
                  <a:ext cx="192090" cy="60325"/>
                </a:xfrm>
                <a:custGeom>
                  <a:avLst/>
                  <a:gdLst>
                    <a:gd name="T0" fmla="*/ 61 w 242"/>
                    <a:gd name="T1" fmla="*/ 14 h 77"/>
                    <a:gd name="T2" fmla="*/ 53 w 242"/>
                    <a:gd name="T3" fmla="*/ 19 h 77"/>
                    <a:gd name="T4" fmla="*/ 35 w 242"/>
                    <a:gd name="T5" fmla="*/ 18 h 77"/>
                    <a:gd name="T6" fmla="*/ 28 w 242"/>
                    <a:gd name="T7" fmla="*/ 14 h 77"/>
                    <a:gd name="T8" fmla="*/ 0 w 242"/>
                    <a:gd name="T9" fmla="*/ 14 h 77"/>
                    <a:gd name="T10" fmla="*/ 4 w 242"/>
                    <a:gd name="T11" fmla="*/ 11 h 77"/>
                    <a:gd name="T12" fmla="*/ 27 w 242"/>
                    <a:gd name="T13" fmla="*/ 10 h 77"/>
                    <a:gd name="T14" fmla="*/ 48 w 242"/>
                    <a:gd name="T15" fmla="*/ 0 h 77"/>
                    <a:gd name="T16" fmla="*/ 58 w 242"/>
                    <a:gd name="T17" fmla="*/ 10 h 77"/>
                    <a:gd name="T18" fmla="*/ 61 w 242"/>
                    <a:gd name="T19" fmla="*/ 14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2"/>
                    <a:gd name="T31" fmla="*/ 0 h 77"/>
                    <a:gd name="T32" fmla="*/ 242 w 242"/>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2" h="77">
                      <a:moveTo>
                        <a:pt x="242" y="58"/>
                      </a:moveTo>
                      <a:lnTo>
                        <a:pt x="209" y="77"/>
                      </a:lnTo>
                      <a:lnTo>
                        <a:pt x="138" y="73"/>
                      </a:lnTo>
                      <a:lnTo>
                        <a:pt x="109" y="58"/>
                      </a:lnTo>
                      <a:lnTo>
                        <a:pt x="0" y="58"/>
                      </a:lnTo>
                      <a:lnTo>
                        <a:pt x="15" y="44"/>
                      </a:lnTo>
                      <a:lnTo>
                        <a:pt x="106" y="42"/>
                      </a:lnTo>
                      <a:lnTo>
                        <a:pt x="190" y="0"/>
                      </a:lnTo>
                      <a:lnTo>
                        <a:pt x="230" y="42"/>
                      </a:lnTo>
                      <a:lnTo>
                        <a:pt x="242" y="58"/>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3" name="Freeform 195"/>
                <p:cNvSpPr>
                  <a:spLocks/>
                </p:cNvSpPr>
                <p:nvPr/>
              </p:nvSpPr>
              <p:spPr bwMode="gray">
                <a:xfrm>
                  <a:off x="8977405" y="2823501"/>
                  <a:ext cx="209553" cy="241300"/>
                </a:xfrm>
                <a:custGeom>
                  <a:avLst/>
                  <a:gdLst>
                    <a:gd name="T0" fmla="*/ 66 w 263"/>
                    <a:gd name="T1" fmla="*/ 66 h 305"/>
                    <a:gd name="T2" fmla="*/ 50 w 263"/>
                    <a:gd name="T3" fmla="*/ 66 h 305"/>
                    <a:gd name="T4" fmla="*/ 49 w 263"/>
                    <a:gd name="T5" fmla="*/ 67 h 305"/>
                    <a:gd name="T6" fmla="*/ 58 w 263"/>
                    <a:gd name="T7" fmla="*/ 71 h 305"/>
                    <a:gd name="T8" fmla="*/ 47 w 263"/>
                    <a:gd name="T9" fmla="*/ 74 h 305"/>
                    <a:gd name="T10" fmla="*/ 46 w 263"/>
                    <a:gd name="T11" fmla="*/ 76 h 305"/>
                    <a:gd name="T12" fmla="*/ 41 w 263"/>
                    <a:gd name="T13" fmla="*/ 71 h 305"/>
                    <a:gd name="T14" fmla="*/ 13 w 263"/>
                    <a:gd name="T15" fmla="*/ 71 h 305"/>
                    <a:gd name="T16" fmla="*/ 0 w 263"/>
                    <a:gd name="T17" fmla="*/ 76 h 305"/>
                    <a:gd name="T18" fmla="*/ 0 w 263"/>
                    <a:gd name="T19" fmla="*/ 71 h 305"/>
                    <a:gd name="T20" fmla="*/ 37 w 263"/>
                    <a:gd name="T21" fmla="*/ 58 h 305"/>
                    <a:gd name="T22" fmla="*/ 34 w 263"/>
                    <a:gd name="T23" fmla="*/ 49 h 305"/>
                    <a:gd name="T24" fmla="*/ 44 w 263"/>
                    <a:gd name="T25" fmla="*/ 45 h 305"/>
                    <a:gd name="T26" fmla="*/ 45 w 263"/>
                    <a:gd name="T27" fmla="*/ 45 h 305"/>
                    <a:gd name="T28" fmla="*/ 45 w 263"/>
                    <a:gd name="T29" fmla="*/ 33 h 305"/>
                    <a:gd name="T30" fmla="*/ 42 w 263"/>
                    <a:gd name="T31" fmla="*/ 6 h 305"/>
                    <a:gd name="T32" fmla="*/ 41 w 263"/>
                    <a:gd name="T33" fmla="*/ 5 h 305"/>
                    <a:gd name="T34" fmla="*/ 45 w 263"/>
                    <a:gd name="T35" fmla="*/ 0 h 305"/>
                    <a:gd name="T36" fmla="*/ 66 w 263"/>
                    <a:gd name="T37" fmla="*/ 25 h 305"/>
                    <a:gd name="T38" fmla="*/ 66 w 263"/>
                    <a:gd name="T39" fmla="*/ 66 h 3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3"/>
                    <a:gd name="T61" fmla="*/ 0 h 305"/>
                    <a:gd name="T62" fmla="*/ 263 w 263"/>
                    <a:gd name="T63" fmla="*/ 305 h 3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3" h="305">
                      <a:moveTo>
                        <a:pt x="263" y="265"/>
                      </a:moveTo>
                      <a:lnTo>
                        <a:pt x="199" y="265"/>
                      </a:lnTo>
                      <a:lnTo>
                        <a:pt x="195" y="268"/>
                      </a:lnTo>
                      <a:lnTo>
                        <a:pt x="230" y="286"/>
                      </a:lnTo>
                      <a:lnTo>
                        <a:pt x="186" y="299"/>
                      </a:lnTo>
                      <a:lnTo>
                        <a:pt x="182" y="305"/>
                      </a:lnTo>
                      <a:lnTo>
                        <a:pt x="163" y="284"/>
                      </a:lnTo>
                      <a:lnTo>
                        <a:pt x="51" y="286"/>
                      </a:lnTo>
                      <a:lnTo>
                        <a:pt x="0" y="305"/>
                      </a:lnTo>
                      <a:lnTo>
                        <a:pt x="0" y="286"/>
                      </a:lnTo>
                      <a:lnTo>
                        <a:pt x="147" y="232"/>
                      </a:lnTo>
                      <a:lnTo>
                        <a:pt x="136" y="197"/>
                      </a:lnTo>
                      <a:lnTo>
                        <a:pt x="176" y="180"/>
                      </a:lnTo>
                      <a:lnTo>
                        <a:pt x="180" y="180"/>
                      </a:lnTo>
                      <a:lnTo>
                        <a:pt x="180" y="132"/>
                      </a:lnTo>
                      <a:lnTo>
                        <a:pt x="167" y="27"/>
                      </a:lnTo>
                      <a:lnTo>
                        <a:pt x="163" y="21"/>
                      </a:lnTo>
                      <a:lnTo>
                        <a:pt x="180" y="0"/>
                      </a:lnTo>
                      <a:lnTo>
                        <a:pt x="263" y="101"/>
                      </a:lnTo>
                      <a:lnTo>
                        <a:pt x="263" y="265"/>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4" name="Freeform 196"/>
                <p:cNvSpPr>
                  <a:spLocks/>
                </p:cNvSpPr>
                <p:nvPr/>
              </p:nvSpPr>
              <p:spPr bwMode="gray">
                <a:xfrm>
                  <a:off x="9036144" y="2704438"/>
                  <a:ext cx="136527" cy="119063"/>
                </a:xfrm>
                <a:custGeom>
                  <a:avLst/>
                  <a:gdLst>
                    <a:gd name="T0" fmla="*/ 42 w 172"/>
                    <a:gd name="T1" fmla="*/ 11 h 150"/>
                    <a:gd name="T2" fmla="*/ 43 w 172"/>
                    <a:gd name="T3" fmla="*/ 12 h 150"/>
                    <a:gd name="T4" fmla="*/ 29 w 172"/>
                    <a:gd name="T5" fmla="*/ 24 h 150"/>
                    <a:gd name="T6" fmla="*/ 22 w 172"/>
                    <a:gd name="T7" fmla="*/ 21 h 150"/>
                    <a:gd name="T8" fmla="*/ 18 w 172"/>
                    <a:gd name="T9" fmla="*/ 24 h 150"/>
                    <a:gd name="T10" fmla="*/ 17 w 172"/>
                    <a:gd name="T11" fmla="*/ 25 h 150"/>
                    <a:gd name="T12" fmla="*/ 23 w 172"/>
                    <a:gd name="T13" fmla="*/ 33 h 150"/>
                    <a:gd name="T14" fmla="*/ 19 w 172"/>
                    <a:gd name="T15" fmla="*/ 37 h 150"/>
                    <a:gd name="T16" fmla="*/ 15 w 172"/>
                    <a:gd name="T17" fmla="*/ 38 h 150"/>
                    <a:gd name="T18" fmla="*/ 0 w 172"/>
                    <a:gd name="T19" fmla="*/ 25 h 150"/>
                    <a:gd name="T20" fmla="*/ 3 w 172"/>
                    <a:gd name="T21" fmla="*/ 13 h 150"/>
                    <a:gd name="T22" fmla="*/ 3 w 172"/>
                    <a:gd name="T23" fmla="*/ 9 h 150"/>
                    <a:gd name="T24" fmla="*/ 0 w 172"/>
                    <a:gd name="T25" fmla="*/ 0 h 150"/>
                    <a:gd name="T26" fmla="*/ 27 w 172"/>
                    <a:gd name="T27" fmla="*/ 0 h 150"/>
                    <a:gd name="T28" fmla="*/ 42 w 172"/>
                    <a:gd name="T29" fmla="*/ 11 h 1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2"/>
                    <a:gd name="T46" fmla="*/ 0 h 150"/>
                    <a:gd name="T47" fmla="*/ 172 w 172"/>
                    <a:gd name="T48" fmla="*/ 150 h 1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2" h="150">
                      <a:moveTo>
                        <a:pt x="168" y="46"/>
                      </a:moveTo>
                      <a:lnTo>
                        <a:pt x="172" y="48"/>
                      </a:lnTo>
                      <a:lnTo>
                        <a:pt x="117" y="98"/>
                      </a:lnTo>
                      <a:lnTo>
                        <a:pt x="88" y="84"/>
                      </a:lnTo>
                      <a:lnTo>
                        <a:pt x="69" y="98"/>
                      </a:lnTo>
                      <a:lnTo>
                        <a:pt x="65" y="102"/>
                      </a:lnTo>
                      <a:lnTo>
                        <a:pt x="92" y="129"/>
                      </a:lnTo>
                      <a:lnTo>
                        <a:pt x="74" y="146"/>
                      </a:lnTo>
                      <a:lnTo>
                        <a:pt x="61" y="150"/>
                      </a:lnTo>
                      <a:lnTo>
                        <a:pt x="0" y="102"/>
                      </a:lnTo>
                      <a:lnTo>
                        <a:pt x="11" y="52"/>
                      </a:lnTo>
                      <a:lnTo>
                        <a:pt x="11" y="37"/>
                      </a:lnTo>
                      <a:lnTo>
                        <a:pt x="0" y="0"/>
                      </a:lnTo>
                      <a:lnTo>
                        <a:pt x="111" y="0"/>
                      </a:lnTo>
                      <a:lnTo>
                        <a:pt x="168" y="46"/>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5" name="Freeform 197"/>
                <p:cNvSpPr>
                  <a:spLocks/>
                </p:cNvSpPr>
                <p:nvPr/>
              </p:nvSpPr>
              <p:spPr bwMode="gray">
                <a:xfrm>
                  <a:off x="8964705" y="3093376"/>
                  <a:ext cx="52388" cy="85725"/>
                </a:xfrm>
                <a:custGeom>
                  <a:avLst/>
                  <a:gdLst>
                    <a:gd name="T0" fmla="*/ 16 w 67"/>
                    <a:gd name="T1" fmla="*/ 23 h 110"/>
                    <a:gd name="T2" fmla="*/ 15 w 67"/>
                    <a:gd name="T3" fmla="*/ 25 h 110"/>
                    <a:gd name="T4" fmla="*/ 15 w 67"/>
                    <a:gd name="T5" fmla="*/ 27 h 110"/>
                    <a:gd name="T6" fmla="*/ 5 w 67"/>
                    <a:gd name="T7" fmla="*/ 15 h 110"/>
                    <a:gd name="T8" fmla="*/ 0 w 67"/>
                    <a:gd name="T9" fmla="*/ 7 h 110"/>
                    <a:gd name="T10" fmla="*/ 3 w 67"/>
                    <a:gd name="T11" fmla="*/ 0 h 110"/>
                    <a:gd name="T12" fmla="*/ 16 w 67"/>
                    <a:gd name="T13" fmla="*/ 15 h 110"/>
                    <a:gd name="T14" fmla="*/ 16 w 67"/>
                    <a:gd name="T15" fmla="*/ 23 h 110"/>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110"/>
                    <a:gd name="T26" fmla="*/ 67 w 67"/>
                    <a:gd name="T27" fmla="*/ 110 h 1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110">
                      <a:moveTo>
                        <a:pt x="64" y="93"/>
                      </a:moveTo>
                      <a:lnTo>
                        <a:pt x="60" y="104"/>
                      </a:lnTo>
                      <a:lnTo>
                        <a:pt x="60" y="110"/>
                      </a:lnTo>
                      <a:lnTo>
                        <a:pt x="21" y="62"/>
                      </a:lnTo>
                      <a:lnTo>
                        <a:pt x="0" y="29"/>
                      </a:lnTo>
                      <a:lnTo>
                        <a:pt x="14" y="0"/>
                      </a:lnTo>
                      <a:lnTo>
                        <a:pt x="67" y="62"/>
                      </a:lnTo>
                      <a:lnTo>
                        <a:pt x="64" y="93"/>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6" name="Freeform 198"/>
                <p:cNvSpPr>
                  <a:spLocks/>
                </p:cNvSpPr>
                <p:nvPr/>
              </p:nvSpPr>
              <p:spPr bwMode="gray">
                <a:xfrm>
                  <a:off x="9036144" y="3079088"/>
                  <a:ext cx="52388" cy="28575"/>
                </a:xfrm>
                <a:custGeom>
                  <a:avLst/>
                  <a:gdLst>
                    <a:gd name="T0" fmla="*/ 16 w 67"/>
                    <a:gd name="T1" fmla="*/ 3 h 37"/>
                    <a:gd name="T2" fmla="*/ 4 w 67"/>
                    <a:gd name="T3" fmla="*/ 9 h 37"/>
                    <a:gd name="T4" fmla="*/ 0 w 67"/>
                    <a:gd name="T5" fmla="*/ 4 h 37"/>
                    <a:gd name="T6" fmla="*/ 0 w 67"/>
                    <a:gd name="T7" fmla="*/ 3 h 37"/>
                    <a:gd name="T8" fmla="*/ 2 w 67"/>
                    <a:gd name="T9" fmla="*/ 0 h 37"/>
                    <a:gd name="T10" fmla="*/ 16 w 67"/>
                    <a:gd name="T11" fmla="*/ 0 h 37"/>
                    <a:gd name="T12" fmla="*/ 16 w 67"/>
                    <a:gd name="T13" fmla="*/ 3 h 37"/>
                    <a:gd name="T14" fmla="*/ 0 60000 65536"/>
                    <a:gd name="T15" fmla="*/ 0 60000 65536"/>
                    <a:gd name="T16" fmla="*/ 0 60000 65536"/>
                    <a:gd name="T17" fmla="*/ 0 60000 65536"/>
                    <a:gd name="T18" fmla="*/ 0 60000 65536"/>
                    <a:gd name="T19" fmla="*/ 0 60000 65536"/>
                    <a:gd name="T20" fmla="*/ 0 60000 65536"/>
                    <a:gd name="T21" fmla="*/ 0 w 67"/>
                    <a:gd name="T22" fmla="*/ 0 h 37"/>
                    <a:gd name="T23" fmla="*/ 67 w 67"/>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37">
                      <a:moveTo>
                        <a:pt x="67" y="12"/>
                      </a:moveTo>
                      <a:lnTo>
                        <a:pt x="17" y="37"/>
                      </a:lnTo>
                      <a:lnTo>
                        <a:pt x="3" y="19"/>
                      </a:lnTo>
                      <a:lnTo>
                        <a:pt x="0" y="12"/>
                      </a:lnTo>
                      <a:lnTo>
                        <a:pt x="11" y="0"/>
                      </a:lnTo>
                      <a:lnTo>
                        <a:pt x="67" y="0"/>
                      </a:lnTo>
                      <a:lnTo>
                        <a:pt x="67" y="12"/>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7" name="Freeform 199"/>
                <p:cNvSpPr>
                  <a:spLocks/>
                </p:cNvSpPr>
                <p:nvPr/>
              </p:nvSpPr>
              <p:spPr bwMode="gray">
                <a:xfrm>
                  <a:off x="4221194" y="1701138"/>
                  <a:ext cx="968388" cy="747713"/>
                </a:xfrm>
                <a:custGeom>
                  <a:avLst/>
                  <a:gdLst>
                    <a:gd name="T0" fmla="*/ 275 w 1221"/>
                    <a:gd name="T1" fmla="*/ 26 h 943"/>
                    <a:gd name="T2" fmla="*/ 278 w 1221"/>
                    <a:gd name="T3" fmla="*/ 28 h 943"/>
                    <a:gd name="T4" fmla="*/ 282 w 1221"/>
                    <a:gd name="T5" fmla="*/ 28 h 943"/>
                    <a:gd name="T6" fmla="*/ 283 w 1221"/>
                    <a:gd name="T7" fmla="*/ 16 h 943"/>
                    <a:gd name="T8" fmla="*/ 283 w 1221"/>
                    <a:gd name="T9" fmla="*/ 15 h 943"/>
                    <a:gd name="T10" fmla="*/ 305 w 1221"/>
                    <a:gd name="T11" fmla="*/ 23 h 943"/>
                    <a:gd name="T12" fmla="*/ 305 w 1221"/>
                    <a:gd name="T13" fmla="*/ 28 h 943"/>
                    <a:gd name="T14" fmla="*/ 295 w 1221"/>
                    <a:gd name="T15" fmla="*/ 33 h 943"/>
                    <a:gd name="T16" fmla="*/ 275 w 1221"/>
                    <a:gd name="T17" fmla="*/ 96 h 943"/>
                    <a:gd name="T18" fmla="*/ 252 w 1221"/>
                    <a:gd name="T19" fmla="*/ 101 h 943"/>
                    <a:gd name="T20" fmla="*/ 245 w 1221"/>
                    <a:gd name="T21" fmla="*/ 101 h 943"/>
                    <a:gd name="T22" fmla="*/ 245 w 1221"/>
                    <a:gd name="T23" fmla="*/ 111 h 943"/>
                    <a:gd name="T24" fmla="*/ 248 w 1221"/>
                    <a:gd name="T25" fmla="*/ 119 h 943"/>
                    <a:gd name="T26" fmla="*/ 227 w 1221"/>
                    <a:gd name="T27" fmla="*/ 141 h 943"/>
                    <a:gd name="T28" fmla="*/ 196 w 1221"/>
                    <a:gd name="T29" fmla="*/ 162 h 943"/>
                    <a:gd name="T30" fmla="*/ 178 w 1221"/>
                    <a:gd name="T31" fmla="*/ 152 h 943"/>
                    <a:gd name="T32" fmla="*/ 170 w 1221"/>
                    <a:gd name="T33" fmla="*/ 169 h 943"/>
                    <a:gd name="T34" fmla="*/ 168 w 1221"/>
                    <a:gd name="T35" fmla="*/ 171 h 943"/>
                    <a:gd name="T36" fmla="*/ 133 w 1221"/>
                    <a:gd name="T37" fmla="*/ 175 h 943"/>
                    <a:gd name="T38" fmla="*/ 128 w 1221"/>
                    <a:gd name="T39" fmla="*/ 178 h 943"/>
                    <a:gd name="T40" fmla="*/ 85 w 1221"/>
                    <a:gd name="T41" fmla="*/ 222 h 943"/>
                    <a:gd name="T42" fmla="*/ 67 w 1221"/>
                    <a:gd name="T43" fmla="*/ 235 h 943"/>
                    <a:gd name="T44" fmla="*/ 41 w 1221"/>
                    <a:gd name="T45" fmla="*/ 231 h 943"/>
                    <a:gd name="T46" fmla="*/ 38 w 1221"/>
                    <a:gd name="T47" fmla="*/ 231 h 943"/>
                    <a:gd name="T48" fmla="*/ 30 w 1221"/>
                    <a:gd name="T49" fmla="*/ 212 h 943"/>
                    <a:gd name="T50" fmla="*/ 30 w 1221"/>
                    <a:gd name="T51" fmla="*/ 206 h 943"/>
                    <a:gd name="T52" fmla="*/ 32 w 1221"/>
                    <a:gd name="T53" fmla="*/ 201 h 943"/>
                    <a:gd name="T54" fmla="*/ 32 w 1221"/>
                    <a:gd name="T55" fmla="*/ 196 h 943"/>
                    <a:gd name="T56" fmla="*/ 34 w 1221"/>
                    <a:gd name="T57" fmla="*/ 191 h 943"/>
                    <a:gd name="T58" fmla="*/ 32 w 1221"/>
                    <a:gd name="T59" fmla="*/ 180 h 943"/>
                    <a:gd name="T60" fmla="*/ 30 w 1221"/>
                    <a:gd name="T61" fmla="*/ 169 h 943"/>
                    <a:gd name="T62" fmla="*/ 30 w 1221"/>
                    <a:gd name="T63" fmla="*/ 168 h 943"/>
                    <a:gd name="T64" fmla="*/ 28 w 1221"/>
                    <a:gd name="T65" fmla="*/ 167 h 943"/>
                    <a:gd name="T66" fmla="*/ 55 w 1221"/>
                    <a:gd name="T67" fmla="*/ 139 h 943"/>
                    <a:gd name="T68" fmla="*/ 57 w 1221"/>
                    <a:gd name="T69" fmla="*/ 121 h 943"/>
                    <a:gd name="T70" fmla="*/ 60 w 1221"/>
                    <a:gd name="T71" fmla="*/ 93 h 943"/>
                    <a:gd name="T72" fmla="*/ 30 w 1221"/>
                    <a:gd name="T73" fmla="*/ 73 h 943"/>
                    <a:gd name="T74" fmla="*/ 3 w 1221"/>
                    <a:gd name="T75" fmla="*/ 73 h 943"/>
                    <a:gd name="T76" fmla="*/ 0 w 1221"/>
                    <a:gd name="T77" fmla="*/ 70 h 943"/>
                    <a:gd name="T78" fmla="*/ 12 w 1221"/>
                    <a:gd name="T79" fmla="*/ 47 h 943"/>
                    <a:gd name="T80" fmla="*/ 37 w 1221"/>
                    <a:gd name="T81" fmla="*/ 46 h 943"/>
                    <a:gd name="T82" fmla="*/ 38 w 1221"/>
                    <a:gd name="T83" fmla="*/ 44 h 943"/>
                    <a:gd name="T84" fmla="*/ 34 w 1221"/>
                    <a:gd name="T85" fmla="*/ 39 h 943"/>
                    <a:gd name="T86" fmla="*/ 34 w 1221"/>
                    <a:gd name="T87" fmla="*/ 37 h 943"/>
                    <a:gd name="T88" fmla="*/ 106 w 1221"/>
                    <a:gd name="T89" fmla="*/ 16 h 943"/>
                    <a:gd name="T90" fmla="*/ 110 w 1221"/>
                    <a:gd name="T91" fmla="*/ 15 h 943"/>
                    <a:gd name="T92" fmla="*/ 131 w 1221"/>
                    <a:gd name="T93" fmla="*/ 23 h 943"/>
                    <a:gd name="T94" fmla="*/ 143 w 1221"/>
                    <a:gd name="T95" fmla="*/ 15 h 943"/>
                    <a:gd name="T96" fmla="*/ 172 w 1221"/>
                    <a:gd name="T97" fmla="*/ 28 h 943"/>
                    <a:gd name="T98" fmla="*/ 173 w 1221"/>
                    <a:gd name="T99" fmla="*/ 16 h 943"/>
                    <a:gd name="T100" fmla="*/ 173 w 1221"/>
                    <a:gd name="T101" fmla="*/ 15 h 943"/>
                    <a:gd name="T102" fmla="*/ 222 w 1221"/>
                    <a:gd name="T103" fmla="*/ 0 h 943"/>
                    <a:gd name="T104" fmla="*/ 275 w 1221"/>
                    <a:gd name="T105" fmla="*/ 10 h 943"/>
                    <a:gd name="T106" fmla="*/ 275 w 1221"/>
                    <a:gd name="T107" fmla="*/ 26 h 9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21"/>
                    <a:gd name="T163" fmla="*/ 0 h 943"/>
                    <a:gd name="T164" fmla="*/ 1221 w 1221"/>
                    <a:gd name="T165" fmla="*/ 943 h 94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21" h="943">
                      <a:moveTo>
                        <a:pt x="1100" y="106"/>
                      </a:moveTo>
                      <a:lnTo>
                        <a:pt x="1115" y="112"/>
                      </a:lnTo>
                      <a:lnTo>
                        <a:pt x="1128" y="112"/>
                      </a:lnTo>
                      <a:lnTo>
                        <a:pt x="1134" y="67"/>
                      </a:lnTo>
                      <a:lnTo>
                        <a:pt x="1134" y="60"/>
                      </a:lnTo>
                      <a:lnTo>
                        <a:pt x="1221" y="92"/>
                      </a:lnTo>
                      <a:lnTo>
                        <a:pt x="1221" y="112"/>
                      </a:lnTo>
                      <a:lnTo>
                        <a:pt x="1182" y="133"/>
                      </a:lnTo>
                      <a:lnTo>
                        <a:pt x="1100" y="386"/>
                      </a:lnTo>
                      <a:lnTo>
                        <a:pt x="1009" y="407"/>
                      </a:lnTo>
                      <a:lnTo>
                        <a:pt x="983" y="407"/>
                      </a:lnTo>
                      <a:lnTo>
                        <a:pt x="983" y="444"/>
                      </a:lnTo>
                      <a:lnTo>
                        <a:pt x="994" y="478"/>
                      </a:lnTo>
                      <a:lnTo>
                        <a:pt x="910" y="566"/>
                      </a:lnTo>
                      <a:lnTo>
                        <a:pt x="785" y="649"/>
                      </a:lnTo>
                      <a:lnTo>
                        <a:pt x="712" y="611"/>
                      </a:lnTo>
                      <a:lnTo>
                        <a:pt x="681" y="676"/>
                      </a:lnTo>
                      <a:lnTo>
                        <a:pt x="672" y="685"/>
                      </a:lnTo>
                      <a:lnTo>
                        <a:pt x="533" y="701"/>
                      </a:lnTo>
                      <a:lnTo>
                        <a:pt x="512" y="714"/>
                      </a:lnTo>
                      <a:lnTo>
                        <a:pt x="340" y="889"/>
                      </a:lnTo>
                      <a:lnTo>
                        <a:pt x="270" y="943"/>
                      </a:lnTo>
                      <a:lnTo>
                        <a:pt x="165" y="927"/>
                      </a:lnTo>
                      <a:lnTo>
                        <a:pt x="155" y="927"/>
                      </a:lnTo>
                      <a:lnTo>
                        <a:pt x="121" y="850"/>
                      </a:lnTo>
                      <a:lnTo>
                        <a:pt x="121" y="826"/>
                      </a:lnTo>
                      <a:lnTo>
                        <a:pt x="128" y="806"/>
                      </a:lnTo>
                      <a:lnTo>
                        <a:pt x="128" y="787"/>
                      </a:lnTo>
                      <a:lnTo>
                        <a:pt x="138" y="764"/>
                      </a:lnTo>
                      <a:lnTo>
                        <a:pt x="128" y="722"/>
                      </a:lnTo>
                      <a:lnTo>
                        <a:pt x="121" y="676"/>
                      </a:lnTo>
                      <a:lnTo>
                        <a:pt x="121" y="672"/>
                      </a:lnTo>
                      <a:lnTo>
                        <a:pt x="115" y="668"/>
                      </a:lnTo>
                      <a:lnTo>
                        <a:pt x="222" y="557"/>
                      </a:lnTo>
                      <a:lnTo>
                        <a:pt x="228" y="484"/>
                      </a:lnTo>
                      <a:lnTo>
                        <a:pt x="242" y="373"/>
                      </a:lnTo>
                      <a:lnTo>
                        <a:pt x="121" y="294"/>
                      </a:lnTo>
                      <a:lnTo>
                        <a:pt x="15" y="294"/>
                      </a:lnTo>
                      <a:lnTo>
                        <a:pt x="0" y="280"/>
                      </a:lnTo>
                      <a:lnTo>
                        <a:pt x="48" y="188"/>
                      </a:lnTo>
                      <a:lnTo>
                        <a:pt x="151" y="185"/>
                      </a:lnTo>
                      <a:lnTo>
                        <a:pt x="155" y="179"/>
                      </a:lnTo>
                      <a:lnTo>
                        <a:pt x="138" y="156"/>
                      </a:lnTo>
                      <a:lnTo>
                        <a:pt x="138" y="150"/>
                      </a:lnTo>
                      <a:lnTo>
                        <a:pt x="424" y="64"/>
                      </a:lnTo>
                      <a:lnTo>
                        <a:pt x="443" y="60"/>
                      </a:lnTo>
                      <a:lnTo>
                        <a:pt x="526" y="92"/>
                      </a:lnTo>
                      <a:lnTo>
                        <a:pt x="574" y="60"/>
                      </a:lnTo>
                      <a:lnTo>
                        <a:pt x="691" y="112"/>
                      </a:lnTo>
                      <a:lnTo>
                        <a:pt x="695" y="67"/>
                      </a:lnTo>
                      <a:lnTo>
                        <a:pt x="695" y="60"/>
                      </a:lnTo>
                      <a:lnTo>
                        <a:pt x="890" y="0"/>
                      </a:lnTo>
                      <a:lnTo>
                        <a:pt x="1100" y="41"/>
                      </a:lnTo>
                      <a:lnTo>
                        <a:pt x="1100" y="106"/>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8" name="Freeform 200"/>
                <p:cNvSpPr>
                  <a:spLocks/>
                </p:cNvSpPr>
                <p:nvPr/>
              </p:nvSpPr>
              <p:spPr bwMode="gray">
                <a:xfrm>
                  <a:off x="4937166" y="2255176"/>
                  <a:ext cx="222253" cy="71438"/>
                </a:xfrm>
                <a:custGeom>
                  <a:avLst/>
                  <a:gdLst>
                    <a:gd name="T0" fmla="*/ 55 w 280"/>
                    <a:gd name="T1" fmla="*/ 0 h 90"/>
                    <a:gd name="T2" fmla="*/ 70 w 280"/>
                    <a:gd name="T3" fmla="*/ 14 h 90"/>
                    <a:gd name="T4" fmla="*/ 70 w 280"/>
                    <a:gd name="T5" fmla="*/ 15 h 90"/>
                    <a:gd name="T6" fmla="*/ 21 w 280"/>
                    <a:gd name="T7" fmla="*/ 23 h 90"/>
                    <a:gd name="T8" fmla="*/ 0 w 280"/>
                    <a:gd name="T9" fmla="*/ 20 h 90"/>
                    <a:gd name="T10" fmla="*/ 0 w 280"/>
                    <a:gd name="T11" fmla="*/ 5 h 90"/>
                    <a:gd name="T12" fmla="*/ 6 w 280"/>
                    <a:gd name="T13" fmla="*/ 0 h 90"/>
                    <a:gd name="T14" fmla="*/ 27 w 280"/>
                    <a:gd name="T15" fmla="*/ 5 h 90"/>
                    <a:gd name="T16" fmla="*/ 55 w 280"/>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0"/>
                    <a:gd name="T28" fmla="*/ 0 h 90"/>
                    <a:gd name="T29" fmla="*/ 280 w 280"/>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0" h="90">
                      <a:moveTo>
                        <a:pt x="221" y="0"/>
                      </a:moveTo>
                      <a:lnTo>
                        <a:pt x="280" y="57"/>
                      </a:lnTo>
                      <a:lnTo>
                        <a:pt x="280" y="61"/>
                      </a:lnTo>
                      <a:lnTo>
                        <a:pt x="86" y="90"/>
                      </a:lnTo>
                      <a:lnTo>
                        <a:pt x="0" y="77"/>
                      </a:lnTo>
                      <a:lnTo>
                        <a:pt x="0" y="17"/>
                      </a:lnTo>
                      <a:lnTo>
                        <a:pt x="27" y="0"/>
                      </a:lnTo>
                      <a:lnTo>
                        <a:pt x="109" y="17"/>
                      </a:lnTo>
                      <a:lnTo>
                        <a:pt x="221" y="0"/>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89" name="Freeform 201"/>
                <p:cNvSpPr>
                  <a:spLocks/>
                </p:cNvSpPr>
                <p:nvPr/>
              </p:nvSpPr>
              <p:spPr bwMode="gray">
                <a:xfrm>
                  <a:off x="5288008" y="2498063"/>
                  <a:ext cx="142877" cy="234950"/>
                </a:xfrm>
                <a:custGeom>
                  <a:avLst/>
                  <a:gdLst>
                    <a:gd name="T0" fmla="*/ 20 w 181"/>
                    <a:gd name="T1" fmla="*/ 16 h 298"/>
                    <a:gd name="T2" fmla="*/ 13 w 181"/>
                    <a:gd name="T3" fmla="*/ 28 h 298"/>
                    <a:gd name="T4" fmla="*/ 17 w 181"/>
                    <a:gd name="T5" fmla="*/ 32 h 298"/>
                    <a:gd name="T6" fmla="*/ 31 w 181"/>
                    <a:gd name="T7" fmla="*/ 38 h 298"/>
                    <a:gd name="T8" fmla="*/ 33 w 181"/>
                    <a:gd name="T9" fmla="*/ 56 h 298"/>
                    <a:gd name="T10" fmla="*/ 45 w 181"/>
                    <a:gd name="T11" fmla="*/ 61 h 298"/>
                    <a:gd name="T12" fmla="*/ 45 w 181"/>
                    <a:gd name="T13" fmla="*/ 64 h 298"/>
                    <a:gd name="T14" fmla="*/ 20 w 181"/>
                    <a:gd name="T15" fmla="*/ 65 h 298"/>
                    <a:gd name="T16" fmla="*/ 0 w 181"/>
                    <a:gd name="T17" fmla="*/ 74 h 298"/>
                    <a:gd name="T18" fmla="*/ 0 w 181"/>
                    <a:gd name="T19" fmla="*/ 61 h 298"/>
                    <a:gd name="T20" fmla="*/ 7 w 181"/>
                    <a:gd name="T21" fmla="*/ 61 h 298"/>
                    <a:gd name="T22" fmla="*/ 8 w 181"/>
                    <a:gd name="T23" fmla="*/ 40 h 298"/>
                    <a:gd name="T24" fmla="*/ 0 w 181"/>
                    <a:gd name="T25" fmla="*/ 38 h 298"/>
                    <a:gd name="T26" fmla="*/ 0 w 181"/>
                    <a:gd name="T27" fmla="*/ 8 h 298"/>
                    <a:gd name="T28" fmla="*/ 10 w 181"/>
                    <a:gd name="T29" fmla="*/ 0 h 298"/>
                    <a:gd name="T30" fmla="*/ 13 w 181"/>
                    <a:gd name="T31" fmla="*/ 0 h 298"/>
                    <a:gd name="T32" fmla="*/ 20 w 181"/>
                    <a:gd name="T33" fmla="*/ 16 h 2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1"/>
                    <a:gd name="T52" fmla="*/ 0 h 298"/>
                    <a:gd name="T53" fmla="*/ 181 w 181"/>
                    <a:gd name="T54" fmla="*/ 298 h 2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1" h="298">
                      <a:moveTo>
                        <a:pt x="83" y="65"/>
                      </a:moveTo>
                      <a:lnTo>
                        <a:pt x="52" y="115"/>
                      </a:lnTo>
                      <a:lnTo>
                        <a:pt x="71" y="129"/>
                      </a:lnTo>
                      <a:lnTo>
                        <a:pt x="125" y="154"/>
                      </a:lnTo>
                      <a:lnTo>
                        <a:pt x="135" y="225"/>
                      </a:lnTo>
                      <a:lnTo>
                        <a:pt x="181" y="246"/>
                      </a:lnTo>
                      <a:lnTo>
                        <a:pt x="181" y="259"/>
                      </a:lnTo>
                      <a:lnTo>
                        <a:pt x="83" y="263"/>
                      </a:lnTo>
                      <a:lnTo>
                        <a:pt x="0" y="298"/>
                      </a:lnTo>
                      <a:lnTo>
                        <a:pt x="0" y="246"/>
                      </a:lnTo>
                      <a:lnTo>
                        <a:pt x="29" y="246"/>
                      </a:lnTo>
                      <a:lnTo>
                        <a:pt x="35" y="163"/>
                      </a:lnTo>
                      <a:lnTo>
                        <a:pt x="0" y="154"/>
                      </a:lnTo>
                      <a:lnTo>
                        <a:pt x="0" y="33"/>
                      </a:lnTo>
                      <a:lnTo>
                        <a:pt x="43" y="0"/>
                      </a:lnTo>
                      <a:lnTo>
                        <a:pt x="52" y="0"/>
                      </a:lnTo>
                      <a:lnTo>
                        <a:pt x="83" y="65"/>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0" name="Freeform 202"/>
                <p:cNvSpPr>
                  <a:spLocks/>
                </p:cNvSpPr>
                <p:nvPr/>
              </p:nvSpPr>
              <p:spPr bwMode="gray">
                <a:xfrm>
                  <a:off x="5135606" y="2615538"/>
                  <a:ext cx="125414" cy="117475"/>
                </a:xfrm>
                <a:custGeom>
                  <a:avLst/>
                  <a:gdLst>
                    <a:gd name="T0" fmla="*/ 39 w 159"/>
                    <a:gd name="T1" fmla="*/ 7 h 148"/>
                    <a:gd name="T2" fmla="*/ 35 w 159"/>
                    <a:gd name="T3" fmla="*/ 19 h 148"/>
                    <a:gd name="T4" fmla="*/ 38 w 159"/>
                    <a:gd name="T5" fmla="*/ 26 h 148"/>
                    <a:gd name="T6" fmla="*/ 39 w 159"/>
                    <a:gd name="T7" fmla="*/ 27 h 148"/>
                    <a:gd name="T8" fmla="*/ 17 w 159"/>
                    <a:gd name="T9" fmla="*/ 29 h 148"/>
                    <a:gd name="T10" fmla="*/ 12 w 159"/>
                    <a:gd name="T11" fmla="*/ 37 h 148"/>
                    <a:gd name="T12" fmla="*/ 0 w 159"/>
                    <a:gd name="T13" fmla="*/ 37 h 148"/>
                    <a:gd name="T14" fmla="*/ 14 w 159"/>
                    <a:gd name="T15" fmla="*/ 25 h 148"/>
                    <a:gd name="T16" fmla="*/ 14 w 159"/>
                    <a:gd name="T17" fmla="*/ 19 h 148"/>
                    <a:gd name="T18" fmla="*/ 12 w 159"/>
                    <a:gd name="T19" fmla="*/ 10 h 148"/>
                    <a:gd name="T20" fmla="*/ 12 w 159"/>
                    <a:gd name="T21" fmla="*/ 7 h 148"/>
                    <a:gd name="T22" fmla="*/ 26 w 159"/>
                    <a:gd name="T23" fmla="*/ 0 h 148"/>
                    <a:gd name="T24" fmla="*/ 35 w 159"/>
                    <a:gd name="T25" fmla="*/ 0 h 148"/>
                    <a:gd name="T26" fmla="*/ 39 w 159"/>
                    <a:gd name="T27" fmla="*/ 7 h 1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9"/>
                    <a:gd name="T43" fmla="*/ 0 h 148"/>
                    <a:gd name="T44" fmla="*/ 159 w 159"/>
                    <a:gd name="T45" fmla="*/ 148 h 1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9" h="148">
                      <a:moveTo>
                        <a:pt x="159" y="30"/>
                      </a:moveTo>
                      <a:lnTo>
                        <a:pt x="142" y="73"/>
                      </a:lnTo>
                      <a:lnTo>
                        <a:pt x="153" y="107"/>
                      </a:lnTo>
                      <a:lnTo>
                        <a:pt x="159" y="111"/>
                      </a:lnTo>
                      <a:lnTo>
                        <a:pt x="71" y="119"/>
                      </a:lnTo>
                      <a:lnTo>
                        <a:pt x="48" y="148"/>
                      </a:lnTo>
                      <a:lnTo>
                        <a:pt x="0" y="148"/>
                      </a:lnTo>
                      <a:lnTo>
                        <a:pt x="57" y="100"/>
                      </a:lnTo>
                      <a:lnTo>
                        <a:pt x="57" y="77"/>
                      </a:lnTo>
                      <a:lnTo>
                        <a:pt x="48" y="40"/>
                      </a:lnTo>
                      <a:lnTo>
                        <a:pt x="48" y="30"/>
                      </a:lnTo>
                      <a:lnTo>
                        <a:pt x="105" y="0"/>
                      </a:lnTo>
                      <a:lnTo>
                        <a:pt x="142" y="0"/>
                      </a:lnTo>
                      <a:lnTo>
                        <a:pt x="159" y="30"/>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1" name="Freeform 203"/>
                <p:cNvSpPr>
                  <a:spLocks/>
                </p:cNvSpPr>
                <p:nvPr/>
              </p:nvSpPr>
              <p:spPr bwMode="gray">
                <a:xfrm>
                  <a:off x="5599162" y="3045751"/>
                  <a:ext cx="52388" cy="61913"/>
                </a:xfrm>
                <a:custGeom>
                  <a:avLst/>
                  <a:gdLst>
                    <a:gd name="T0" fmla="*/ 16 w 67"/>
                    <a:gd name="T1" fmla="*/ 7 h 79"/>
                    <a:gd name="T2" fmla="*/ 14 w 67"/>
                    <a:gd name="T3" fmla="*/ 10 h 79"/>
                    <a:gd name="T4" fmla="*/ 16 w 67"/>
                    <a:gd name="T5" fmla="*/ 18 h 79"/>
                    <a:gd name="T6" fmla="*/ 11 w 67"/>
                    <a:gd name="T7" fmla="*/ 19 h 79"/>
                    <a:gd name="T8" fmla="*/ 0 w 67"/>
                    <a:gd name="T9" fmla="*/ 1 h 79"/>
                    <a:gd name="T10" fmla="*/ 1 w 67"/>
                    <a:gd name="T11" fmla="*/ 0 h 79"/>
                    <a:gd name="T12" fmla="*/ 10 w 67"/>
                    <a:gd name="T13" fmla="*/ 0 h 79"/>
                    <a:gd name="T14" fmla="*/ 16 w 67"/>
                    <a:gd name="T15" fmla="*/ 7 h 79"/>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79"/>
                    <a:gd name="T26" fmla="*/ 67 w 6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79">
                      <a:moveTo>
                        <a:pt x="67" y="31"/>
                      </a:moveTo>
                      <a:lnTo>
                        <a:pt x="58" y="42"/>
                      </a:lnTo>
                      <a:lnTo>
                        <a:pt x="67" y="73"/>
                      </a:lnTo>
                      <a:lnTo>
                        <a:pt x="44" y="79"/>
                      </a:lnTo>
                      <a:lnTo>
                        <a:pt x="0" y="6"/>
                      </a:lnTo>
                      <a:lnTo>
                        <a:pt x="6" y="0"/>
                      </a:lnTo>
                      <a:lnTo>
                        <a:pt x="40" y="0"/>
                      </a:lnTo>
                      <a:lnTo>
                        <a:pt x="67" y="31"/>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2" name="Freeform 204"/>
                <p:cNvSpPr>
                  <a:spLocks/>
                </p:cNvSpPr>
                <p:nvPr/>
              </p:nvSpPr>
              <p:spPr bwMode="gray">
                <a:xfrm>
                  <a:off x="5742039" y="3169576"/>
                  <a:ext cx="66676" cy="41275"/>
                </a:xfrm>
                <a:custGeom>
                  <a:avLst/>
                  <a:gdLst>
                    <a:gd name="T0" fmla="*/ 21 w 85"/>
                    <a:gd name="T1" fmla="*/ 11 h 52"/>
                    <a:gd name="T2" fmla="*/ 14 w 85"/>
                    <a:gd name="T3" fmla="*/ 13 h 52"/>
                    <a:gd name="T4" fmla="*/ 0 w 85"/>
                    <a:gd name="T5" fmla="*/ 7 h 52"/>
                    <a:gd name="T6" fmla="*/ 0 w 85"/>
                    <a:gd name="T7" fmla="*/ 7 h 52"/>
                    <a:gd name="T8" fmla="*/ 17 w 85"/>
                    <a:gd name="T9" fmla="*/ 0 h 52"/>
                    <a:gd name="T10" fmla="*/ 21 w 85"/>
                    <a:gd name="T11" fmla="*/ 0 h 52"/>
                    <a:gd name="T12" fmla="*/ 21 w 85"/>
                    <a:gd name="T13" fmla="*/ 11 h 52"/>
                    <a:gd name="T14" fmla="*/ 0 60000 65536"/>
                    <a:gd name="T15" fmla="*/ 0 60000 65536"/>
                    <a:gd name="T16" fmla="*/ 0 60000 65536"/>
                    <a:gd name="T17" fmla="*/ 0 60000 65536"/>
                    <a:gd name="T18" fmla="*/ 0 60000 65536"/>
                    <a:gd name="T19" fmla="*/ 0 60000 65536"/>
                    <a:gd name="T20" fmla="*/ 0 60000 65536"/>
                    <a:gd name="T21" fmla="*/ 0 w 85"/>
                    <a:gd name="T22" fmla="*/ 0 h 52"/>
                    <a:gd name="T23" fmla="*/ 85 w 85"/>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 h="52">
                      <a:moveTo>
                        <a:pt x="85" y="43"/>
                      </a:moveTo>
                      <a:lnTo>
                        <a:pt x="58" y="52"/>
                      </a:lnTo>
                      <a:lnTo>
                        <a:pt x="2" y="29"/>
                      </a:lnTo>
                      <a:lnTo>
                        <a:pt x="0" y="27"/>
                      </a:lnTo>
                      <a:lnTo>
                        <a:pt x="68" y="0"/>
                      </a:lnTo>
                      <a:lnTo>
                        <a:pt x="85" y="0"/>
                      </a:lnTo>
                      <a:lnTo>
                        <a:pt x="85" y="43"/>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3" name="Freeform 205"/>
                <p:cNvSpPr>
                  <a:spLocks/>
                </p:cNvSpPr>
                <p:nvPr/>
              </p:nvSpPr>
              <p:spPr bwMode="gray">
                <a:xfrm>
                  <a:off x="6021442" y="3212438"/>
                  <a:ext cx="66676" cy="12700"/>
                </a:xfrm>
                <a:custGeom>
                  <a:avLst/>
                  <a:gdLst>
                    <a:gd name="T0" fmla="*/ 22 w 82"/>
                    <a:gd name="T1" fmla="*/ 4 h 17"/>
                    <a:gd name="T2" fmla="*/ 2 w 82"/>
                    <a:gd name="T3" fmla="*/ 4 h 17"/>
                    <a:gd name="T4" fmla="*/ 0 w 82"/>
                    <a:gd name="T5" fmla="*/ 2 h 17"/>
                    <a:gd name="T6" fmla="*/ 10 w 82"/>
                    <a:gd name="T7" fmla="*/ 0 h 17"/>
                    <a:gd name="T8" fmla="*/ 18 w 82"/>
                    <a:gd name="T9" fmla="*/ 4 h 17"/>
                    <a:gd name="T10" fmla="*/ 22 w 82"/>
                    <a:gd name="T11" fmla="*/ 4 h 17"/>
                    <a:gd name="T12" fmla="*/ 0 60000 65536"/>
                    <a:gd name="T13" fmla="*/ 0 60000 65536"/>
                    <a:gd name="T14" fmla="*/ 0 60000 65536"/>
                    <a:gd name="T15" fmla="*/ 0 60000 65536"/>
                    <a:gd name="T16" fmla="*/ 0 60000 65536"/>
                    <a:gd name="T17" fmla="*/ 0 60000 65536"/>
                    <a:gd name="T18" fmla="*/ 0 w 82"/>
                    <a:gd name="T19" fmla="*/ 0 h 17"/>
                    <a:gd name="T20" fmla="*/ 82 w 8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82" h="17">
                      <a:moveTo>
                        <a:pt x="82" y="17"/>
                      </a:moveTo>
                      <a:lnTo>
                        <a:pt x="5" y="16"/>
                      </a:lnTo>
                      <a:lnTo>
                        <a:pt x="0" y="10"/>
                      </a:lnTo>
                      <a:lnTo>
                        <a:pt x="40" y="0"/>
                      </a:lnTo>
                      <a:lnTo>
                        <a:pt x="71" y="16"/>
                      </a:lnTo>
                      <a:lnTo>
                        <a:pt x="82" y="17"/>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4" name="Freeform 206"/>
                <p:cNvSpPr>
                  <a:spLocks/>
                </p:cNvSpPr>
                <p:nvPr/>
              </p:nvSpPr>
              <p:spPr bwMode="gray">
                <a:xfrm>
                  <a:off x="3868764" y="1732888"/>
                  <a:ext cx="517532" cy="177800"/>
                </a:xfrm>
                <a:custGeom>
                  <a:avLst/>
                  <a:gdLst>
                    <a:gd name="T0" fmla="*/ 160 w 651"/>
                    <a:gd name="T1" fmla="*/ 11 h 224"/>
                    <a:gd name="T2" fmla="*/ 116 w 651"/>
                    <a:gd name="T3" fmla="*/ 34 h 224"/>
                    <a:gd name="T4" fmla="*/ 112 w 651"/>
                    <a:gd name="T5" fmla="*/ 27 h 224"/>
                    <a:gd name="T6" fmla="*/ 110 w 651"/>
                    <a:gd name="T7" fmla="*/ 27 h 224"/>
                    <a:gd name="T8" fmla="*/ 59 w 651"/>
                    <a:gd name="T9" fmla="*/ 56 h 224"/>
                    <a:gd name="T10" fmla="*/ 15 w 651"/>
                    <a:gd name="T11" fmla="*/ 43 h 224"/>
                    <a:gd name="T12" fmla="*/ 14 w 651"/>
                    <a:gd name="T13" fmla="*/ 43 h 224"/>
                    <a:gd name="T14" fmla="*/ 24 w 651"/>
                    <a:gd name="T15" fmla="*/ 41 h 224"/>
                    <a:gd name="T16" fmla="*/ 36 w 651"/>
                    <a:gd name="T17" fmla="*/ 40 h 224"/>
                    <a:gd name="T18" fmla="*/ 36 w 651"/>
                    <a:gd name="T19" fmla="*/ 40 h 224"/>
                    <a:gd name="T20" fmla="*/ 39 w 651"/>
                    <a:gd name="T21" fmla="*/ 38 h 224"/>
                    <a:gd name="T22" fmla="*/ 36 w 651"/>
                    <a:gd name="T23" fmla="*/ 28 h 224"/>
                    <a:gd name="T24" fmla="*/ 33 w 651"/>
                    <a:gd name="T25" fmla="*/ 26 h 224"/>
                    <a:gd name="T26" fmla="*/ 25 w 651"/>
                    <a:gd name="T27" fmla="*/ 34 h 224"/>
                    <a:gd name="T28" fmla="*/ 9 w 651"/>
                    <a:gd name="T29" fmla="*/ 34 h 224"/>
                    <a:gd name="T30" fmla="*/ 0 w 651"/>
                    <a:gd name="T31" fmla="*/ 26 h 224"/>
                    <a:gd name="T32" fmla="*/ 71 w 651"/>
                    <a:gd name="T33" fmla="*/ 0 h 224"/>
                    <a:gd name="T34" fmla="*/ 163 w 651"/>
                    <a:gd name="T35" fmla="*/ 0 h 224"/>
                    <a:gd name="T36" fmla="*/ 160 w 651"/>
                    <a:gd name="T37" fmla="*/ 11 h 2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51"/>
                    <a:gd name="T58" fmla="*/ 0 h 224"/>
                    <a:gd name="T59" fmla="*/ 651 w 651"/>
                    <a:gd name="T60" fmla="*/ 224 h 2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51" h="224">
                      <a:moveTo>
                        <a:pt x="640" y="44"/>
                      </a:moveTo>
                      <a:lnTo>
                        <a:pt x="463" y="136"/>
                      </a:lnTo>
                      <a:lnTo>
                        <a:pt x="446" y="107"/>
                      </a:lnTo>
                      <a:lnTo>
                        <a:pt x="438" y="107"/>
                      </a:lnTo>
                      <a:lnTo>
                        <a:pt x="236" y="224"/>
                      </a:lnTo>
                      <a:lnTo>
                        <a:pt x="58" y="172"/>
                      </a:lnTo>
                      <a:lnTo>
                        <a:pt x="54" y="172"/>
                      </a:lnTo>
                      <a:lnTo>
                        <a:pt x="96" y="161"/>
                      </a:lnTo>
                      <a:lnTo>
                        <a:pt x="141" y="157"/>
                      </a:lnTo>
                      <a:lnTo>
                        <a:pt x="144" y="157"/>
                      </a:lnTo>
                      <a:lnTo>
                        <a:pt x="154" y="149"/>
                      </a:lnTo>
                      <a:lnTo>
                        <a:pt x="141" y="111"/>
                      </a:lnTo>
                      <a:lnTo>
                        <a:pt x="131" y="101"/>
                      </a:lnTo>
                      <a:lnTo>
                        <a:pt x="100" y="136"/>
                      </a:lnTo>
                      <a:lnTo>
                        <a:pt x="33" y="136"/>
                      </a:lnTo>
                      <a:lnTo>
                        <a:pt x="0" y="101"/>
                      </a:lnTo>
                      <a:lnTo>
                        <a:pt x="284" y="0"/>
                      </a:lnTo>
                      <a:lnTo>
                        <a:pt x="651" y="0"/>
                      </a:lnTo>
                      <a:lnTo>
                        <a:pt x="640" y="44"/>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5" name="Freeform 207"/>
                <p:cNvSpPr>
                  <a:spLocks/>
                </p:cNvSpPr>
                <p:nvPr/>
              </p:nvSpPr>
              <p:spPr bwMode="gray">
                <a:xfrm>
                  <a:off x="3767163" y="1878938"/>
                  <a:ext cx="241303" cy="76200"/>
                </a:xfrm>
                <a:custGeom>
                  <a:avLst/>
                  <a:gdLst>
                    <a:gd name="T0" fmla="*/ 27 w 303"/>
                    <a:gd name="T1" fmla="*/ 13 h 96"/>
                    <a:gd name="T2" fmla="*/ 76 w 303"/>
                    <a:gd name="T3" fmla="*/ 13 h 96"/>
                    <a:gd name="T4" fmla="*/ 68 w 303"/>
                    <a:gd name="T5" fmla="*/ 23 h 96"/>
                    <a:gd name="T6" fmla="*/ 9 w 303"/>
                    <a:gd name="T7" fmla="*/ 24 h 96"/>
                    <a:gd name="T8" fmla="*/ 0 w 303"/>
                    <a:gd name="T9" fmla="*/ 12 h 96"/>
                    <a:gd name="T10" fmla="*/ 10 w 303"/>
                    <a:gd name="T11" fmla="*/ 0 h 96"/>
                    <a:gd name="T12" fmla="*/ 25 w 303"/>
                    <a:gd name="T13" fmla="*/ 0 h 96"/>
                    <a:gd name="T14" fmla="*/ 27 w 303"/>
                    <a:gd name="T15" fmla="*/ 13 h 96"/>
                    <a:gd name="T16" fmla="*/ 0 60000 65536"/>
                    <a:gd name="T17" fmla="*/ 0 60000 65536"/>
                    <a:gd name="T18" fmla="*/ 0 60000 65536"/>
                    <a:gd name="T19" fmla="*/ 0 60000 65536"/>
                    <a:gd name="T20" fmla="*/ 0 60000 65536"/>
                    <a:gd name="T21" fmla="*/ 0 60000 65536"/>
                    <a:gd name="T22" fmla="*/ 0 60000 65536"/>
                    <a:gd name="T23" fmla="*/ 0 60000 65536"/>
                    <a:gd name="T24" fmla="*/ 0 w 303"/>
                    <a:gd name="T25" fmla="*/ 0 h 96"/>
                    <a:gd name="T26" fmla="*/ 303 w 303"/>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3" h="96">
                      <a:moveTo>
                        <a:pt x="105" y="52"/>
                      </a:moveTo>
                      <a:lnTo>
                        <a:pt x="303" y="52"/>
                      </a:lnTo>
                      <a:lnTo>
                        <a:pt x="270" y="92"/>
                      </a:lnTo>
                      <a:lnTo>
                        <a:pt x="34" y="96"/>
                      </a:lnTo>
                      <a:lnTo>
                        <a:pt x="0" y="46"/>
                      </a:lnTo>
                      <a:lnTo>
                        <a:pt x="38" y="0"/>
                      </a:lnTo>
                      <a:lnTo>
                        <a:pt x="98" y="0"/>
                      </a:lnTo>
                      <a:lnTo>
                        <a:pt x="105" y="52"/>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6" name="Freeform 208"/>
                <p:cNvSpPr>
                  <a:spLocks/>
                </p:cNvSpPr>
                <p:nvPr/>
              </p:nvSpPr>
              <p:spPr bwMode="gray">
                <a:xfrm>
                  <a:off x="3487759" y="1939263"/>
                  <a:ext cx="168277" cy="90488"/>
                </a:xfrm>
                <a:custGeom>
                  <a:avLst/>
                  <a:gdLst>
                    <a:gd name="T0" fmla="*/ 37 w 211"/>
                    <a:gd name="T1" fmla="*/ 25 h 113"/>
                    <a:gd name="T2" fmla="*/ 15 w 211"/>
                    <a:gd name="T3" fmla="*/ 28 h 113"/>
                    <a:gd name="T4" fmla="*/ 9 w 211"/>
                    <a:gd name="T5" fmla="*/ 29 h 113"/>
                    <a:gd name="T6" fmla="*/ 0 w 211"/>
                    <a:gd name="T7" fmla="*/ 17 h 113"/>
                    <a:gd name="T8" fmla="*/ 41 w 211"/>
                    <a:gd name="T9" fmla="*/ 0 h 113"/>
                    <a:gd name="T10" fmla="*/ 53 w 211"/>
                    <a:gd name="T11" fmla="*/ 16 h 113"/>
                    <a:gd name="T12" fmla="*/ 37 w 211"/>
                    <a:gd name="T13" fmla="*/ 25 h 113"/>
                    <a:gd name="T14" fmla="*/ 0 60000 65536"/>
                    <a:gd name="T15" fmla="*/ 0 60000 65536"/>
                    <a:gd name="T16" fmla="*/ 0 60000 65536"/>
                    <a:gd name="T17" fmla="*/ 0 60000 65536"/>
                    <a:gd name="T18" fmla="*/ 0 60000 65536"/>
                    <a:gd name="T19" fmla="*/ 0 60000 65536"/>
                    <a:gd name="T20" fmla="*/ 0 60000 65536"/>
                    <a:gd name="T21" fmla="*/ 0 w 211"/>
                    <a:gd name="T22" fmla="*/ 0 h 113"/>
                    <a:gd name="T23" fmla="*/ 211 w 211"/>
                    <a:gd name="T24" fmla="*/ 113 h 1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1" h="113">
                      <a:moveTo>
                        <a:pt x="147" y="97"/>
                      </a:moveTo>
                      <a:lnTo>
                        <a:pt x="59" y="109"/>
                      </a:lnTo>
                      <a:lnTo>
                        <a:pt x="34" y="113"/>
                      </a:lnTo>
                      <a:lnTo>
                        <a:pt x="0" y="67"/>
                      </a:lnTo>
                      <a:lnTo>
                        <a:pt x="161" y="0"/>
                      </a:lnTo>
                      <a:lnTo>
                        <a:pt x="211" y="63"/>
                      </a:lnTo>
                      <a:lnTo>
                        <a:pt x="147" y="97"/>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7" name="Freeform 209"/>
                <p:cNvSpPr>
                  <a:spLocks/>
                </p:cNvSpPr>
                <p:nvPr/>
              </p:nvSpPr>
              <p:spPr bwMode="gray">
                <a:xfrm>
                  <a:off x="3219468" y="2002763"/>
                  <a:ext cx="250828" cy="101600"/>
                </a:xfrm>
                <a:custGeom>
                  <a:avLst/>
                  <a:gdLst>
                    <a:gd name="T0" fmla="*/ 80 w 314"/>
                    <a:gd name="T1" fmla="*/ 19 h 129"/>
                    <a:gd name="T2" fmla="*/ 64 w 314"/>
                    <a:gd name="T3" fmla="*/ 32 h 129"/>
                    <a:gd name="T4" fmla="*/ 30 w 314"/>
                    <a:gd name="T5" fmla="*/ 19 h 129"/>
                    <a:gd name="T6" fmla="*/ 5 w 314"/>
                    <a:gd name="T7" fmla="*/ 28 h 129"/>
                    <a:gd name="T8" fmla="*/ 0 w 314"/>
                    <a:gd name="T9" fmla="*/ 21 h 129"/>
                    <a:gd name="T10" fmla="*/ 0 w 314"/>
                    <a:gd name="T11" fmla="*/ 19 h 129"/>
                    <a:gd name="T12" fmla="*/ 15 w 314"/>
                    <a:gd name="T13" fmla="*/ 5 h 129"/>
                    <a:gd name="T14" fmla="*/ 15 w 314"/>
                    <a:gd name="T15" fmla="*/ 4 h 129"/>
                    <a:gd name="T16" fmla="*/ 14 w 314"/>
                    <a:gd name="T17" fmla="*/ 4 h 129"/>
                    <a:gd name="T18" fmla="*/ 11 w 314"/>
                    <a:gd name="T19" fmla="*/ 4 h 129"/>
                    <a:gd name="T20" fmla="*/ 53 w 314"/>
                    <a:gd name="T21" fmla="*/ 7 h 129"/>
                    <a:gd name="T22" fmla="*/ 71 w 314"/>
                    <a:gd name="T23" fmla="*/ 0 h 129"/>
                    <a:gd name="T24" fmla="*/ 73 w 314"/>
                    <a:gd name="T25" fmla="*/ 13 h 129"/>
                    <a:gd name="T26" fmla="*/ 80 w 314"/>
                    <a:gd name="T27" fmla="*/ 19 h 1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14"/>
                    <a:gd name="T43" fmla="*/ 0 h 129"/>
                    <a:gd name="T44" fmla="*/ 314 w 314"/>
                    <a:gd name="T45" fmla="*/ 129 h 1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14" h="129">
                      <a:moveTo>
                        <a:pt x="314" y="77"/>
                      </a:moveTo>
                      <a:lnTo>
                        <a:pt x="255" y="129"/>
                      </a:lnTo>
                      <a:lnTo>
                        <a:pt x="117" y="77"/>
                      </a:lnTo>
                      <a:lnTo>
                        <a:pt x="17" y="115"/>
                      </a:lnTo>
                      <a:lnTo>
                        <a:pt x="0" y="87"/>
                      </a:lnTo>
                      <a:lnTo>
                        <a:pt x="0" y="77"/>
                      </a:lnTo>
                      <a:lnTo>
                        <a:pt x="57" y="23"/>
                      </a:lnTo>
                      <a:lnTo>
                        <a:pt x="57" y="18"/>
                      </a:lnTo>
                      <a:lnTo>
                        <a:pt x="53" y="16"/>
                      </a:lnTo>
                      <a:lnTo>
                        <a:pt x="42" y="16"/>
                      </a:lnTo>
                      <a:lnTo>
                        <a:pt x="211" y="31"/>
                      </a:lnTo>
                      <a:lnTo>
                        <a:pt x="280" y="0"/>
                      </a:lnTo>
                      <a:lnTo>
                        <a:pt x="290" y="52"/>
                      </a:lnTo>
                      <a:lnTo>
                        <a:pt x="314" y="77"/>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8" name="Freeform 210"/>
                <p:cNvSpPr>
                  <a:spLocks/>
                </p:cNvSpPr>
                <p:nvPr/>
              </p:nvSpPr>
              <p:spPr bwMode="gray">
                <a:xfrm>
                  <a:off x="3403621" y="1878938"/>
                  <a:ext cx="150814" cy="76200"/>
                </a:xfrm>
                <a:custGeom>
                  <a:avLst/>
                  <a:gdLst>
                    <a:gd name="T0" fmla="*/ 47 w 192"/>
                    <a:gd name="T1" fmla="*/ 1 h 96"/>
                    <a:gd name="T2" fmla="*/ 47 w 192"/>
                    <a:gd name="T3" fmla="*/ 13 h 96"/>
                    <a:gd name="T4" fmla="*/ 8 w 192"/>
                    <a:gd name="T5" fmla="*/ 24 h 96"/>
                    <a:gd name="T6" fmla="*/ 0 w 192"/>
                    <a:gd name="T7" fmla="*/ 13 h 96"/>
                    <a:gd name="T8" fmla="*/ 11 w 192"/>
                    <a:gd name="T9" fmla="*/ 0 h 96"/>
                    <a:gd name="T10" fmla="*/ 22 w 192"/>
                    <a:gd name="T11" fmla="*/ 3 h 96"/>
                    <a:gd name="T12" fmla="*/ 47 w 192"/>
                    <a:gd name="T13" fmla="*/ 1 h 96"/>
                    <a:gd name="T14" fmla="*/ 0 60000 65536"/>
                    <a:gd name="T15" fmla="*/ 0 60000 65536"/>
                    <a:gd name="T16" fmla="*/ 0 60000 65536"/>
                    <a:gd name="T17" fmla="*/ 0 60000 65536"/>
                    <a:gd name="T18" fmla="*/ 0 60000 65536"/>
                    <a:gd name="T19" fmla="*/ 0 60000 65536"/>
                    <a:gd name="T20" fmla="*/ 0 60000 65536"/>
                    <a:gd name="T21" fmla="*/ 0 w 192"/>
                    <a:gd name="T22" fmla="*/ 0 h 96"/>
                    <a:gd name="T23" fmla="*/ 192 w 192"/>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2" h="96">
                      <a:moveTo>
                        <a:pt x="192" y="4"/>
                      </a:moveTo>
                      <a:lnTo>
                        <a:pt x="192" y="52"/>
                      </a:lnTo>
                      <a:lnTo>
                        <a:pt x="35" y="96"/>
                      </a:lnTo>
                      <a:lnTo>
                        <a:pt x="0" y="52"/>
                      </a:lnTo>
                      <a:lnTo>
                        <a:pt x="46" y="0"/>
                      </a:lnTo>
                      <a:lnTo>
                        <a:pt x="88" y="15"/>
                      </a:lnTo>
                      <a:lnTo>
                        <a:pt x="192" y="4"/>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99" name="Freeform 211"/>
                <p:cNvSpPr>
                  <a:spLocks/>
                </p:cNvSpPr>
                <p:nvPr/>
              </p:nvSpPr>
              <p:spPr bwMode="gray">
                <a:xfrm>
                  <a:off x="3670324" y="1878938"/>
                  <a:ext cx="66676" cy="46038"/>
                </a:xfrm>
                <a:custGeom>
                  <a:avLst/>
                  <a:gdLst>
                    <a:gd name="T0" fmla="*/ 8 w 82"/>
                    <a:gd name="T1" fmla="*/ 13 h 57"/>
                    <a:gd name="T2" fmla="*/ 4 w 82"/>
                    <a:gd name="T3" fmla="*/ 15 h 57"/>
                    <a:gd name="T4" fmla="*/ 0 w 82"/>
                    <a:gd name="T5" fmla="*/ 0 h 57"/>
                    <a:gd name="T6" fmla="*/ 22 w 82"/>
                    <a:gd name="T7" fmla="*/ 0 h 57"/>
                    <a:gd name="T8" fmla="*/ 8 w 82"/>
                    <a:gd name="T9" fmla="*/ 13 h 57"/>
                    <a:gd name="T10" fmla="*/ 0 60000 65536"/>
                    <a:gd name="T11" fmla="*/ 0 60000 65536"/>
                    <a:gd name="T12" fmla="*/ 0 60000 65536"/>
                    <a:gd name="T13" fmla="*/ 0 60000 65536"/>
                    <a:gd name="T14" fmla="*/ 0 60000 65536"/>
                    <a:gd name="T15" fmla="*/ 0 w 82"/>
                    <a:gd name="T16" fmla="*/ 0 h 57"/>
                    <a:gd name="T17" fmla="*/ 82 w 82"/>
                    <a:gd name="T18" fmla="*/ 57 h 57"/>
                  </a:gdLst>
                  <a:ahLst/>
                  <a:cxnLst>
                    <a:cxn ang="T10">
                      <a:pos x="T0" y="T1"/>
                    </a:cxn>
                    <a:cxn ang="T11">
                      <a:pos x="T2" y="T3"/>
                    </a:cxn>
                    <a:cxn ang="T12">
                      <a:pos x="T4" y="T5"/>
                    </a:cxn>
                    <a:cxn ang="T13">
                      <a:pos x="T6" y="T7"/>
                    </a:cxn>
                    <a:cxn ang="T14">
                      <a:pos x="T8" y="T9"/>
                    </a:cxn>
                  </a:cxnLst>
                  <a:rect l="T15" t="T16" r="T17" b="T18"/>
                  <a:pathLst>
                    <a:path w="82" h="57">
                      <a:moveTo>
                        <a:pt x="31" y="52"/>
                      </a:moveTo>
                      <a:lnTo>
                        <a:pt x="13" y="57"/>
                      </a:lnTo>
                      <a:lnTo>
                        <a:pt x="0" y="0"/>
                      </a:lnTo>
                      <a:lnTo>
                        <a:pt x="82" y="0"/>
                      </a:lnTo>
                      <a:lnTo>
                        <a:pt x="31" y="52"/>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100" name="Freeform 212"/>
                <p:cNvSpPr>
                  <a:spLocks/>
                </p:cNvSpPr>
                <p:nvPr/>
              </p:nvSpPr>
              <p:spPr bwMode="gray">
                <a:xfrm>
                  <a:off x="3136917" y="1928151"/>
                  <a:ext cx="207965" cy="85725"/>
                </a:xfrm>
                <a:custGeom>
                  <a:avLst/>
                  <a:gdLst>
                    <a:gd name="T0" fmla="*/ 65 w 263"/>
                    <a:gd name="T1" fmla="*/ 11 h 110"/>
                    <a:gd name="T2" fmla="*/ 15 w 263"/>
                    <a:gd name="T3" fmla="*/ 27 h 110"/>
                    <a:gd name="T4" fmla="*/ 1 w 263"/>
                    <a:gd name="T5" fmla="*/ 19 h 110"/>
                    <a:gd name="T6" fmla="*/ 0 w 263"/>
                    <a:gd name="T7" fmla="*/ 19 h 110"/>
                    <a:gd name="T8" fmla="*/ 39 w 263"/>
                    <a:gd name="T9" fmla="*/ 0 h 110"/>
                    <a:gd name="T10" fmla="*/ 65 w 263"/>
                    <a:gd name="T11" fmla="*/ 0 h 110"/>
                    <a:gd name="T12" fmla="*/ 65 w 263"/>
                    <a:gd name="T13" fmla="*/ 11 h 110"/>
                    <a:gd name="T14" fmla="*/ 0 60000 65536"/>
                    <a:gd name="T15" fmla="*/ 0 60000 65536"/>
                    <a:gd name="T16" fmla="*/ 0 60000 65536"/>
                    <a:gd name="T17" fmla="*/ 0 60000 65536"/>
                    <a:gd name="T18" fmla="*/ 0 60000 65536"/>
                    <a:gd name="T19" fmla="*/ 0 60000 65536"/>
                    <a:gd name="T20" fmla="*/ 0 60000 65536"/>
                    <a:gd name="T21" fmla="*/ 0 w 263"/>
                    <a:gd name="T22" fmla="*/ 0 h 110"/>
                    <a:gd name="T23" fmla="*/ 263 w 263"/>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3" h="110">
                      <a:moveTo>
                        <a:pt x="263" y="46"/>
                      </a:moveTo>
                      <a:lnTo>
                        <a:pt x="63" y="110"/>
                      </a:lnTo>
                      <a:lnTo>
                        <a:pt x="4" y="79"/>
                      </a:lnTo>
                      <a:lnTo>
                        <a:pt x="0" y="79"/>
                      </a:lnTo>
                      <a:lnTo>
                        <a:pt x="159" y="0"/>
                      </a:lnTo>
                      <a:lnTo>
                        <a:pt x="263" y="0"/>
                      </a:lnTo>
                      <a:lnTo>
                        <a:pt x="263" y="46"/>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101" name="Freeform 213"/>
                <p:cNvSpPr>
                  <a:spLocks/>
                </p:cNvSpPr>
                <p:nvPr/>
              </p:nvSpPr>
              <p:spPr bwMode="gray">
                <a:xfrm>
                  <a:off x="3935440" y="2752063"/>
                  <a:ext cx="155577" cy="146050"/>
                </a:xfrm>
                <a:custGeom>
                  <a:avLst/>
                  <a:gdLst>
                    <a:gd name="T0" fmla="*/ 36 w 196"/>
                    <a:gd name="T1" fmla="*/ 5 h 184"/>
                    <a:gd name="T2" fmla="*/ 29 w 196"/>
                    <a:gd name="T3" fmla="*/ 7 h 184"/>
                    <a:gd name="T4" fmla="*/ 37 w 196"/>
                    <a:gd name="T5" fmla="*/ 12 h 184"/>
                    <a:gd name="T6" fmla="*/ 40 w 196"/>
                    <a:gd name="T7" fmla="*/ 12 h 184"/>
                    <a:gd name="T8" fmla="*/ 40 w 196"/>
                    <a:gd name="T9" fmla="*/ 23 h 184"/>
                    <a:gd name="T10" fmla="*/ 46 w 196"/>
                    <a:gd name="T11" fmla="*/ 24 h 184"/>
                    <a:gd name="T12" fmla="*/ 49 w 196"/>
                    <a:gd name="T13" fmla="*/ 24 h 184"/>
                    <a:gd name="T14" fmla="*/ 42 w 196"/>
                    <a:gd name="T15" fmla="*/ 44 h 184"/>
                    <a:gd name="T16" fmla="*/ 42 w 196"/>
                    <a:gd name="T17" fmla="*/ 45 h 184"/>
                    <a:gd name="T18" fmla="*/ 40 w 196"/>
                    <a:gd name="T19" fmla="*/ 46 h 184"/>
                    <a:gd name="T20" fmla="*/ 25 w 196"/>
                    <a:gd name="T21" fmla="*/ 33 h 184"/>
                    <a:gd name="T22" fmla="*/ 27 w 196"/>
                    <a:gd name="T23" fmla="*/ 26 h 184"/>
                    <a:gd name="T24" fmla="*/ 28 w 196"/>
                    <a:gd name="T25" fmla="*/ 25 h 184"/>
                    <a:gd name="T26" fmla="*/ 3 w 196"/>
                    <a:gd name="T27" fmla="*/ 24 h 184"/>
                    <a:gd name="T28" fmla="*/ 0 w 196"/>
                    <a:gd name="T29" fmla="*/ 24 h 184"/>
                    <a:gd name="T30" fmla="*/ 9 w 196"/>
                    <a:gd name="T31" fmla="*/ 12 h 184"/>
                    <a:gd name="T32" fmla="*/ 12 w 196"/>
                    <a:gd name="T33" fmla="*/ 7 h 184"/>
                    <a:gd name="T34" fmla="*/ 34 w 196"/>
                    <a:gd name="T35" fmla="*/ 0 h 184"/>
                    <a:gd name="T36" fmla="*/ 36 w 196"/>
                    <a:gd name="T37" fmla="*/ 0 h 184"/>
                    <a:gd name="T38" fmla="*/ 36 w 196"/>
                    <a:gd name="T39" fmla="*/ 5 h 1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6"/>
                    <a:gd name="T61" fmla="*/ 0 h 184"/>
                    <a:gd name="T62" fmla="*/ 196 w 196"/>
                    <a:gd name="T63" fmla="*/ 184 h 1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6" h="184">
                      <a:moveTo>
                        <a:pt x="144" y="17"/>
                      </a:moveTo>
                      <a:lnTo>
                        <a:pt x="117" y="28"/>
                      </a:lnTo>
                      <a:lnTo>
                        <a:pt x="148" y="49"/>
                      </a:lnTo>
                      <a:lnTo>
                        <a:pt x="159" y="49"/>
                      </a:lnTo>
                      <a:lnTo>
                        <a:pt x="159" y="94"/>
                      </a:lnTo>
                      <a:lnTo>
                        <a:pt x="182" y="99"/>
                      </a:lnTo>
                      <a:lnTo>
                        <a:pt x="196" y="99"/>
                      </a:lnTo>
                      <a:lnTo>
                        <a:pt x="165" y="176"/>
                      </a:lnTo>
                      <a:lnTo>
                        <a:pt x="165" y="180"/>
                      </a:lnTo>
                      <a:lnTo>
                        <a:pt x="159" y="184"/>
                      </a:lnTo>
                      <a:lnTo>
                        <a:pt x="98" y="130"/>
                      </a:lnTo>
                      <a:lnTo>
                        <a:pt x="111" y="107"/>
                      </a:lnTo>
                      <a:lnTo>
                        <a:pt x="113" y="103"/>
                      </a:lnTo>
                      <a:lnTo>
                        <a:pt x="13" y="99"/>
                      </a:lnTo>
                      <a:lnTo>
                        <a:pt x="0" y="99"/>
                      </a:lnTo>
                      <a:lnTo>
                        <a:pt x="36" y="46"/>
                      </a:lnTo>
                      <a:lnTo>
                        <a:pt x="50" y="28"/>
                      </a:lnTo>
                      <a:lnTo>
                        <a:pt x="134" y="0"/>
                      </a:lnTo>
                      <a:lnTo>
                        <a:pt x="144" y="0"/>
                      </a:lnTo>
                      <a:lnTo>
                        <a:pt x="144" y="17"/>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102" name="Freeform 214"/>
                <p:cNvSpPr>
                  <a:spLocks/>
                </p:cNvSpPr>
                <p:nvPr/>
              </p:nvSpPr>
              <p:spPr bwMode="gray">
                <a:xfrm>
                  <a:off x="2981340" y="3679163"/>
                  <a:ext cx="274641" cy="103188"/>
                </a:xfrm>
                <a:custGeom>
                  <a:avLst/>
                  <a:gdLst>
                    <a:gd name="T0" fmla="*/ 64 w 348"/>
                    <a:gd name="T1" fmla="*/ 17 h 131"/>
                    <a:gd name="T2" fmla="*/ 86 w 348"/>
                    <a:gd name="T3" fmla="*/ 31 h 131"/>
                    <a:gd name="T4" fmla="*/ 54 w 348"/>
                    <a:gd name="T5" fmla="*/ 32 h 131"/>
                    <a:gd name="T6" fmla="*/ 51 w 348"/>
                    <a:gd name="T7" fmla="*/ 26 h 131"/>
                    <a:gd name="T8" fmla="*/ 24 w 348"/>
                    <a:gd name="T9" fmla="*/ 13 h 131"/>
                    <a:gd name="T10" fmla="*/ 4 w 348"/>
                    <a:gd name="T11" fmla="*/ 11 h 131"/>
                    <a:gd name="T12" fmla="*/ 0 w 348"/>
                    <a:gd name="T13" fmla="*/ 5 h 131"/>
                    <a:gd name="T14" fmla="*/ 5 w 348"/>
                    <a:gd name="T15" fmla="*/ 1 h 131"/>
                    <a:gd name="T16" fmla="*/ 7 w 348"/>
                    <a:gd name="T17" fmla="*/ 0 h 131"/>
                    <a:gd name="T18" fmla="*/ 20 w 348"/>
                    <a:gd name="T19" fmla="*/ 3 h 131"/>
                    <a:gd name="T20" fmla="*/ 64 w 348"/>
                    <a:gd name="T21" fmla="*/ 17 h 1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8"/>
                    <a:gd name="T34" fmla="*/ 0 h 131"/>
                    <a:gd name="T35" fmla="*/ 348 w 348"/>
                    <a:gd name="T36" fmla="*/ 131 h 1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8" h="131">
                      <a:moveTo>
                        <a:pt x="259" y="68"/>
                      </a:moveTo>
                      <a:lnTo>
                        <a:pt x="348" y="127"/>
                      </a:lnTo>
                      <a:lnTo>
                        <a:pt x="219" y="131"/>
                      </a:lnTo>
                      <a:lnTo>
                        <a:pt x="206" y="104"/>
                      </a:lnTo>
                      <a:lnTo>
                        <a:pt x="98" y="52"/>
                      </a:lnTo>
                      <a:lnTo>
                        <a:pt x="18" y="46"/>
                      </a:lnTo>
                      <a:lnTo>
                        <a:pt x="0" y="21"/>
                      </a:lnTo>
                      <a:lnTo>
                        <a:pt x="21" y="4"/>
                      </a:lnTo>
                      <a:lnTo>
                        <a:pt x="29" y="0"/>
                      </a:lnTo>
                      <a:lnTo>
                        <a:pt x="81" y="12"/>
                      </a:lnTo>
                      <a:lnTo>
                        <a:pt x="259" y="68"/>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103" name="Freeform 215"/>
                <p:cNvSpPr>
                  <a:spLocks/>
                </p:cNvSpPr>
                <p:nvPr/>
              </p:nvSpPr>
              <p:spPr bwMode="gray">
                <a:xfrm>
                  <a:off x="3249631" y="3798226"/>
                  <a:ext cx="165102" cy="57150"/>
                </a:xfrm>
                <a:custGeom>
                  <a:avLst/>
                  <a:gdLst>
                    <a:gd name="T0" fmla="*/ 51 w 209"/>
                    <a:gd name="T1" fmla="*/ 4 h 71"/>
                    <a:gd name="T2" fmla="*/ 52 w 209"/>
                    <a:gd name="T3" fmla="*/ 18 h 71"/>
                    <a:gd name="T4" fmla="*/ 37 w 209"/>
                    <a:gd name="T5" fmla="*/ 8 h 71"/>
                    <a:gd name="T6" fmla="*/ 36 w 209"/>
                    <a:gd name="T7" fmla="*/ 8 h 71"/>
                    <a:gd name="T8" fmla="*/ 29 w 209"/>
                    <a:gd name="T9" fmla="*/ 17 h 71"/>
                    <a:gd name="T10" fmla="*/ 27 w 209"/>
                    <a:gd name="T11" fmla="*/ 18 h 71"/>
                    <a:gd name="T12" fmla="*/ 20 w 209"/>
                    <a:gd name="T13" fmla="*/ 8 h 71"/>
                    <a:gd name="T14" fmla="*/ 1 w 209"/>
                    <a:gd name="T15" fmla="*/ 18 h 71"/>
                    <a:gd name="T16" fmla="*/ 0 w 209"/>
                    <a:gd name="T17" fmla="*/ 8 h 71"/>
                    <a:gd name="T18" fmla="*/ 16 w 209"/>
                    <a:gd name="T19" fmla="*/ 1 h 71"/>
                    <a:gd name="T20" fmla="*/ 19 w 209"/>
                    <a:gd name="T21" fmla="*/ 0 h 71"/>
                    <a:gd name="T22" fmla="*/ 45 w 209"/>
                    <a:gd name="T23" fmla="*/ 1 h 71"/>
                    <a:gd name="T24" fmla="*/ 51 w 209"/>
                    <a:gd name="T25" fmla="*/ 4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9"/>
                    <a:gd name="T40" fmla="*/ 0 h 71"/>
                    <a:gd name="T41" fmla="*/ 209 w 209"/>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9" h="71">
                      <a:moveTo>
                        <a:pt x="207" y="13"/>
                      </a:moveTo>
                      <a:lnTo>
                        <a:pt x="209" y="71"/>
                      </a:lnTo>
                      <a:lnTo>
                        <a:pt x="148" y="31"/>
                      </a:lnTo>
                      <a:lnTo>
                        <a:pt x="144" y="29"/>
                      </a:lnTo>
                      <a:lnTo>
                        <a:pt x="117" y="67"/>
                      </a:lnTo>
                      <a:lnTo>
                        <a:pt x="111" y="71"/>
                      </a:lnTo>
                      <a:lnTo>
                        <a:pt x="81" y="29"/>
                      </a:lnTo>
                      <a:lnTo>
                        <a:pt x="4" y="71"/>
                      </a:lnTo>
                      <a:lnTo>
                        <a:pt x="0" y="29"/>
                      </a:lnTo>
                      <a:lnTo>
                        <a:pt x="65" y="4"/>
                      </a:lnTo>
                      <a:lnTo>
                        <a:pt x="77" y="0"/>
                      </a:lnTo>
                      <a:lnTo>
                        <a:pt x="183" y="4"/>
                      </a:lnTo>
                      <a:lnTo>
                        <a:pt x="207" y="13"/>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104" name="Freeform 216"/>
                <p:cNvSpPr>
                  <a:spLocks/>
                </p:cNvSpPr>
                <p:nvPr/>
              </p:nvSpPr>
              <p:spPr bwMode="gray">
                <a:xfrm>
                  <a:off x="3136917" y="3810926"/>
                  <a:ext cx="68263" cy="63500"/>
                </a:xfrm>
                <a:custGeom>
                  <a:avLst/>
                  <a:gdLst>
                    <a:gd name="T0" fmla="*/ 22 w 86"/>
                    <a:gd name="T1" fmla="*/ 14 h 81"/>
                    <a:gd name="T2" fmla="*/ 22 w 86"/>
                    <a:gd name="T3" fmla="*/ 16 h 81"/>
                    <a:gd name="T4" fmla="*/ 15 w 86"/>
                    <a:gd name="T5" fmla="*/ 18 h 81"/>
                    <a:gd name="T6" fmla="*/ 14 w 86"/>
                    <a:gd name="T7" fmla="*/ 20 h 81"/>
                    <a:gd name="T8" fmla="*/ 0 w 86"/>
                    <a:gd name="T9" fmla="*/ 5 h 81"/>
                    <a:gd name="T10" fmla="*/ 0 w 86"/>
                    <a:gd name="T11" fmla="*/ 3 h 81"/>
                    <a:gd name="T12" fmla="*/ 3 w 86"/>
                    <a:gd name="T13" fmla="*/ 0 h 81"/>
                    <a:gd name="T14" fmla="*/ 14 w 86"/>
                    <a:gd name="T15" fmla="*/ 0 h 81"/>
                    <a:gd name="T16" fmla="*/ 22 w 86"/>
                    <a:gd name="T17" fmla="*/ 14 h 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81"/>
                    <a:gd name="T29" fmla="*/ 86 w 86"/>
                    <a:gd name="T30" fmla="*/ 81 h 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81">
                      <a:moveTo>
                        <a:pt x="86" y="56"/>
                      </a:moveTo>
                      <a:lnTo>
                        <a:pt x="86" y="66"/>
                      </a:lnTo>
                      <a:lnTo>
                        <a:pt x="60" y="75"/>
                      </a:lnTo>
                      <a:lnTo>
                        <a:pt x="58" y="81"/>
                      </a:lnTo>
                      <a:lnTo>
                        <a:pt x="0" y="20"/>
                      </a:lnTo>
                      <a:lnTo>
                        <a:pt x="0" y="12"/>
                      </a:lnTo>
                      <a:lnTo>
                        <a:pt x="15" y="0"/>
                      </a:lnTo>
                      <a:lnTo>
                        <a:pt x="58" y="0"/>
                      </a:lnTo>
                      <a:lnTo>
                        <a:pt x="86" y="56"/>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sp>
              <p:nvSpPr>
                <p:cNvPr id="105" name="Freeform 217"/>
                <p:cNvSpPr>
                  <a:spLocks/>
                </p:cNvSpPr>
                <p:nvPr/>
              </p:nvSpPr>
              <p:spPr bwMode="gray">
                <a:xfrm>
                  <a:off x="3997354" y="6266788"/>
                  <a:ext cx="93664" cy="30163"/>
                </a:xfrm>
                <a:custGeom>
                  <a:avLst/>
                  <a:gdLst>
                    <a:gd name="T0" fmla="*/ 29 w 119"/>
                    <a:gd name="T1" fmla="*/ 1 h 39"/>
                    <a:gd name="T2" fmla="*/ 29 w 119"/>
                    <a:gd name="T3" fmla="*/ 4 h 39"/>
                    <a:gd name="T4" fmla="*/ 19 w 119"/>
                    <a:gd name="T5" fmla="*/ 9 h 39"/>
                    <a:gd name="T6" fmla="*/ 0 w 119"/>
                    <a:gd name="T7" fmla="*/ 9 h 39"/>
                    <a:gd name="T8" fmla="*/ 18 w 119"/>
                    <a:gd name="T9" fmla="*/ 0 h 39"/>
                    <a:gd name="T10" fmla="*/ 29 w 119"/>
                    <a:gd name="T11" fmla="*/ 0 h 39"/>
                    <a:gd name="T12" fmla="*/ 29 w 119"/>
                    <a:gd name="T13" fmla="*/ 1 h 39"/>
                    <a:gd name="T14" fmla="*/ 0 60000 65536"/>
                    <a:gd name="T15" fmla="*/ 0 60000 65536"/>
                    <a:gd name="T16" fmla="*/ 0 60000 65536"/>
                    <a:gd name="T17" fmla="*/ 0 60000 65536"/>
                    <a:gd name="T18" fmla="*/ 0 60000 65536"/>
                    <a:gd name="T19" fmla="*/ 0 60000 65536"/>
                    <a:gd name="T20" fmla="*/ 0 60000 65536"/>
                    <a:gd name="T21" fmla="*/ 0 w 119"/>
                    <a:gd name="T22" fmla="*/ 0 h 39"/>
                    <a:gd name="T23" fmla="*/ 119 w 11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39">
                      <a:moveTo>
                        <a:pt x="119" y="6"/>
                      </a:moveTo>
                      <a:lnTo>
                        <a:pt x="119" y="16"/>
                      </a:lnTo>
                      <a:lnTo>
                        <a:pt x="78" y="37"/>
                      </a:lnTo>
                      <a:lnTo>
                        <a:pt x="0" y="39"/>
                      </a:lnTo>
                      <a:lnTo>
                        <a:pt x="74" y="0"/>
                      </a:lnTo>
                      <a:lnTo>
                        <a:pt x="117" y="0"/>
                      </a:lnTo>
                      <a:lnTo>
                        <a:pt x="119" y="6"/>
                      </a:lnTo>
                      <a:close/>
                    </a:path>
                  </a:pathLst>
                </a:custGeom>
                <a:solidFill>
                  <a:srgbClr val="D8CEB8"/>
                </a:solidFill>
                <a:ln w="9525">
                  <a:solidFill>
                    <a:srgbClr val="BBAD87"/>
                  </a:solidFill>
                  <a:round/>
                  <a:headEnd/>
                  <a:tailEnd/>
                </a:ln>
              </p:spPr>
              <p:txBody>
                <a:bodyPr wrap="none"/>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dirty="0">
                    <a:ln>
                      <a:noFill/>
                    </a:ln>
                    <a:solidFill>
                      <a:srgbClr val="141E3D"/>
                    </a:solidFill>
                    <a:effectLst/>
                    <a:uLnTx/>
                    <a:uFillTx/>
                    <a:latin typeface="Arial" pitchFamily="34" charset="0"/>
                    <a:ea typeface="+mn-ea"/>
                    <a:cs typeface="Arial" pitchFamily="34" charset="0"/>
                  </a:endParaRPr>
                </a:p>
              </p:txBody>
            </p:sp>
          </p:grpSp>
          <p:cxnSp>
            <p:nvCxnSpPr>
              <p:cNvPr id="107" name="Straight Connector 106"/>
              <p:cNvCxnSpPr/>
              <p:nvPr/>
            </p:nvCxnSpPr>
            <p:spPr>
              <a:xfrm flipH="1">
                <a:off x="8047847" y="4440681"/>
                <a:ext cx="462101" cy="48005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2316603" y="5637710"/>
                <a:ext cx="766729" cy="381490"/>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lan</a:t>
                </a: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Tec</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109" name="flag_singapore" descr="Datei:Flag of Singapore.sv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559774" y="4259216"/>
                <a:ext cx="333135" cy="230574"/>
              </a:xfrm>
              <a:prstGeom prst="rect">
                <a:avLst/>
              </a:prstGeom>
              <a:noFill/>
              <a:ln w="3175">
                <a:solidFill>
                  <a:srgbClr val="808080"/>
                </a:solidFill>
              </a:ln>
            </p:spPr>
          </p:pic>
          <p:pic>
            <p:nvPicPr>
              <p:cNvPr id="110" name="flag_chile" descr="Datei:Flag of Chile.sv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085041" y="5720826"/>
                <a:ext cx="333134" cy="230574"/>
              </a:xfrm>
              <a:prstGeom prst="rect">
                <a:avLst/>
              </a:prstGeom>
              <a:noFill/>
              <a:ln w="3175">
                <a:solidFill>
                  <a:srgbClr val="808080"/>
                </a:solidFill>
              </a:ln>
            </p:spPr>
          </p:pic>
          <p:cxnSp>
            <p:nvCxnSpPr>
              <p:cNvPr id="111" name="Straight Connector 110"/>
              <p:cNvCxnSpPr/>
              <p:nvPr/>
            </p:nvCxnSpPr>
            <p:spPr>
              <a:xfrm flipV="1">
                <a:off x="2964731" y="5960853"/>
                <a:ext cx="154034" cy="16001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12" name="flag_estonia" descr="Datei:Flag of Estonia.sv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902484" y="2545565"/>
                <a:ext cx="333134" cy="230717"/>
              </a:xfrm>
              <a:prstGeom prst="rect">
                <a:avLst/>
              </a:prstGeom>
              <a:noFill/>
              <a:ln w="3175">
                <a:solidFill>
                  <a:srgbClr val="808080"/>
                </a:solidFill>
              </a:ln>
            </p:spPr>
          </p:pic>
          <p:sp>
            <p:nvSpPr>
              <p:cNvPr id="113" name="TextBox 112"/>
              <p:cNvSpPr txBox="1"/>
              <p:nvPr/>
            </p:nvSpPr>
            <p:spPr>
              <a:xfrm>
                <a:off x="8109757" y="4388983"/>
                <a:ext cx="1272476" cy="554518"/>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ingapu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MasterPlan</a:t>
                </a: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1, 2, 3</a:t>
                </a:r>
              </a:p>
            </p:txBody>
          </p:sp>
          <p:sp>
            <p:nvSpPr>
              <p:cNvPr id="114" name="TextBox 113"/>
              <p:cNvSpPr txBox="1"/>
              <p:nvPr/>
            </p:nvSpPr>
            <p:spPr>
              <a:xfrm>
                <a:off x="5863525" y="2387298"/>
                <a:ext cx="1612753" cy="554518"/>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Estôn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iger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Leap</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15" name="TextBox 114"/>
              <p:cNvSpPr txBox="1"/>
              <p:nvPr/>
            </p:nvSpPr>
            <p:spPr>
              <a:xfrm>
                <a:off x="5977081" y="2686917"/>
                <a:ext cx="183944" cy="377065"/>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16" name="TextBox 115"/>
              <p:cNvSpPr txBox="1"/>
              <p:nvPr/>
            </p:nvSpPr>
            <p:spPr>
              <a:xfrm>
                <a:off x="8589157" y="3921338"/>
                <a:ext cx="183945" cy="377065"/>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17" name="TextBox 116"/>
              <p:cNvSpPr txBox="1"/>
              <p:nvPr/>
            </p:nvSpPr>
            <p:spPr>
              <a:xfrm>
                <a:off x="2431743" y="5452224"/>
                <a:ext cx="528412" cy="381490"/>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hile</a:t>
                </a:r>
              </a:p>
            </p:txBody>
          </p:sp>
          <p:pic>
            <p:nvPicPr>
              <p:cNvPr id="118" name="flag_southkorea" descr="Datei:Flag of South Korea.sv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863540" y="2930237"/>
                <a:ext cx="333134" cy="230574"/>
              </a:xfrm>
              <a:prstGeom prst="rect">
                <a:avLst/>
              </a:prstGeom>
              <a:noFill/>
              <a:ln w="3175">
                <a:solidFill>
                  <a:srgbClr val="808080"/>
                </a:solidFill>
              </a:ln>
            </p:spPr>
          </p:pic>
          <p:sp>
            <p:nvSpPr>
              <p:cNvPr id="120" name="TextBox 119"/>
              <p:cNvSpPr txBox="1"/>
              <p:nvPr/>
            </p:nvSpPr>
            <p:spPr>
              <a:xfrm>
                <a:off x="8540657" y="3110964"/>
                <a:ext cx="999529" cy="731972"/>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oreia do Su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Planos d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KERIS</a:t>
                </a:r>
              </a:p>
            </p:txBody>
          </p:sp>
          <p:pic>
            <p:nvPicPr>
              <p:cNvPr id="122" name="flag_australia" descr="Unbenannt-1.pn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a:xfrm>
                <a:off x="9489693" y="5543736"/>
                <a:ext cx="332925" cy="230573"/>
              </a:xfrm>
              <a:prstGeom prst="rect">
                <a:avLst/>
              </a:prstGeom>
            </p:spPr>
          </p:pic>
          <p:sp>
            <p:nvSpPr>
              <p:cNvPr id="125" name="TextBox 124"/>
              <p:cNvSpPr txBox="1"/>
              <p:nvPr/>
            </p:nvSpPr>
            <p:spPr>
              <a:xfrm>
                <a:off x="9101745" y="5737903"/>
                <a:ext cx="1194263" cy="731972"/>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ustrál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Digital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Education</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Revolution</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126" name="flag_unitedkingdom" descr="Datei:Flag of the United Kingdom.sv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909289" y="2629247"/>
                <a:ext cx="332923" cy="230572"/>
              </a:xfrm>
              <a:prstGeom prst="rect">
                <a:avLst/>
              </a:prstGeom>
              <a:noFill/>
            </p:spPr>
          </p:pic>
          <p:sp>
            <p:nvSpPr>
              <p:cNvPr id="127" name="TextBox 126"/>
              <p:cNvSpPr txBox="1"/>
              <p:nvPr/>
            </p:nvSpPr>
            <p:spPr>
              <a:xfrm>
                <a:off x="4042815" y="2414705"/>
                <a:ext cx="926106" cy="731972"/>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Reino Unid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Harnessing</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echnology</a:t>
                </a:r>
              </a:p>
            </p:txBody>
          </p:sp>
          <p:cxnSp>
            <p:nvCxnSpPr>
              <p:cNvPr id="128" name="Straight Connector 127"/>
              <p:cNvCxnSpPr>
                <a:cxnSpLocks/>
                <a:stCxn id="126" idx="2"/>
              </p:cNvCxnSpPr>
              <p:nvPr/>
            </p:nvCxnSpPr>
            <p:spPr>
              <a:xfrm flipH="1">
                <a:off x="4838038" y="2859818"/>
                <a:ext cx="237713" cy="9990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29" name="TextBox 128"/>
              <p:cNvSpPr txBox="1"/>
              <p:nvPr/>
            </p:nvSpPr>
            <p:spPr>
              <a:xfrm>
                <a:off x="4638064" y="2847814"/>
                <a:ext cx="183945" cy="377065"/>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cxnSp>
            <p:nvCxnSpPr>
              <p:cNvPr id="130" name="Straight Connector 129"/>
              <p:cNvCxnSpPr/>
              <p:nvPr/>
            </p:nvCxnSpPr>
            <p:spPr>
              <a:xfrm flipH="1" flipV="1">
                <a:off x="3272798" y="3160536"/>
                <a:ext cx="77017" cy="16001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31" name="flag_usa" descr="Datei:Flag of the United States (Pantone).sv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080198" y="2892285"/>
                <a:ext cx="324677" cy="224428"/>
              </a:xfrm>
              <a:prstGeom prst="rect">
                <a:avLst/>
              </a:prstGeom>
              <a:noFill/>
            </p:spPr>
          </p:pic>
          <p:sp>
            <p:nvSpPr>
              <p:cNvPr id="132" name="TextBox 131"/>
              <p:cNvSpPr txBox="1"/>
              <p:nvPr/>
            </p:nvSpPr>
            <p:spPr>
              <a:xfrm>
                <a:off x="2643360" y="2605432"/>
                <a:ext cx="1175738" cy="618880"/>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EUA</a:t>
                </a:r>
              </a:p>
            </p:txBody>
          </p:sp>
          <p:sp>
            <p:nvSpPr>
              <p:cNvPr id="133" name="TextBox 132"/>
              <p:cNvSpPr txBox="1"/>
              <p:nvPr/>
            </p:nvSpPr>
            <p:spPr>
              <a:xfrm>
                <a:off x="2782649" y="3118472"/>
                <a:ext cx="960467" cy="740564"/>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Lear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owered</a:t>
                </a: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by</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echnology</a:t>
                </a:r>
              </a:p>
            </p:txBody>
          </p:sp>
          <p:pic>
            <p:nvPicPr>
              <p:cNvPr id="134" name="flag_uruguay" descr="Datei:Flag of Uruguay.sv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615422" y="5826670"/>
                <a:ext cx="333134" cy="230856"/>
              </a:xfrm>
              <a:prstGeom prst="rect">
                <a:avLst/>
              </a:prstGeom>
              <a:noFill/>
              <a:ln w="3175">
                <a:solidFill>
                  <a:srgbClr val="808080"/>
                </a:solidFill>
              </a:ln>
            </p:spPr>
          </p:pic>
          <p:sp>
            <p:nvSpPr>
              <p:cNvPr id="135" name="TextBox 134"/>
              <p:cNvSpPr txBox="1"/>
              <p:nvPr/>
            </p:nvSpPr>
            <p:spPr>
              <a:xfrm>
                <a:off x="4067916" y="5543736"/>
                <a:ext cx="705006" cy="381490"/>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Uruguai</a:t>
                </a:r>
              </a:p>
            </p:txBody>
          </p:sp>
          <p:cxnSp>
            <p:nvCxnSpPr>
              <p:cNvPr id="136" name="Straight Connector 135"/>
              <p:cNvCxnSpPr>
                <a:cxnSpLocks/>
                <a:endCxn id="134" idx="2"/>
              </p:cNvCxnSpPr>
              <p:nvPr/>
            </p:nvCxnSpPr>
            <p:spPr>
              <a:xfrm flipH="1" flipV="1">
                <a:off x="3781991" y="6057525"/>
                <a:ext cx="86467" cy="11336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4001338" y="5721696"/>
                <a:ext cx="838389" cy="363935"/>
              </a:xfrm>
              <a:prstGeom prst="rect">
                <a:avLst/>
              </a:prstGeom>
              <a:noFill/>
            </p:spPr>
            <p:txBody>
              <a:bodyPr wrap="non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lan</a:t>
                </a: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Ceibal</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138" name="Imagem 128" descr="bd_bd136.jpg (500×500)"/>
              <p:cNvPicPr/>
              <p:nvPr/>
            </p:nvPicPr>
            <p:blipFill>
              <a:blip r:embed="rId14" cstate="email">
                <a:extLst>
                  <a:ext uri="{28A0092B-C50C-407E-A947-70E740481C1C}">
                    <a14:useLocalDpi xmlns:a14="http://schemas.microsoft.com/office/drawing/2010/main"/>
                  </a:ext>
                </a:extLst>
              </a:blip>
              <a:srcRect/>
              <a:stretch>
                <a:fillRect/>
              </a:stretch>
            </p:blipFill>
            <p:spPr bwMode="auto">
              <a:xfrm>
                <a:off x="5685751" y="2030677"/>
                <a:ext cx="291327" cy="323083"/>
              </a:xfrm>
              <a:prstGeom prst="rect">
                <a:avLst/>
              </a:prstGeom>
              <a:noFill/>
              <a:ln>
                <a:noFill/>
              </a:ln>
            </p:spPr>
          </p:pic>
          <p:pic>
            <p:nvPicPr>
              <p:cNvPr id="139" name="Imagem 129" descr="Flag_of_Canada.png (800×400)"/>
              <p:cNvPicPr/>
              <p:nvPr/>
            </p:nvPicPr>
            <p:blipFill>
              <a:blip r:embed="rId15" cstate="email">
                <a:extLst>
                  <a:ext uri="{28A0092B-C50C-407E-A947-70E740481C1C}">
                    <a14:useLocalDpi xmlns:a14="http://schemas.microsoft.com/office/drawing/2010/main"/>
                  </a:ext>
                </a:extLst>
              </a:blip>
              <a:srcRect/>
              <a:stretch>
                <a:fillRect/>
              </a:stretch>
            </p:blipFill>
            <p:spPr bwMode="auto">
              <a:xfrm>
                <a:off x="2256747" y="2374944"/>
                <a:ext cx="382366" cy="212023"/>
              </a:xfrm>
              <a:prstGeom prst="rect">
                <a:avLst/>
              </a:prstGeom>
              <a:noFill/>
              <a:ln>
                <a:noFill/>
              </a:ln>
            </p:spPr>
          </p:pic>
          <p:sp>
            <p:nvSpPr>
              <p:cNvPr id="141" name="TextBox 123"/>
              <p:cNvSpPr txBox="1"/>
              <p:nvPr/>
            </p:nvSpPr>
            <p:spPr>
              <a:xfrm>
                <a:off x="5006422" y="1273816"/>
                <a:ext cx="1775016" cy="909427"/>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Finlandia</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National</a:t>
                </a: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lan</a:t>
                </a: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of</a:t>
                </a: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Educational</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Use </a:t>
                </a: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of</a:t>
                </a: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ICT </a:t>
                </a:r>
              </a:p>
            </p:txBody>
          </p:sp>
          <p:sp>
            <p:nvSpPr>
              <p:cNvPr id="142" name="TextBox 117"/>
              <p:cNvSpPr txBox="1"/>
              <p:nvPr/>
            </p:nvSpPr>
            <p:spPr>
              <a:xfrm>
                <a:off x="4488579" y="1833696"/>
                <a:ext cx="1335620" cy="377065"/>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cxnSp>
            <p:nvCxnSpPr>
              <p:cNvPr id="143" name="Straight Connector 142"/>
              <p:cNvCxnSpPr/>
              <p:nvPr/>
            </p:nvCxnSpPr>
            <p:spPr>
              <a:xfrm flipV="1">
                <a:off x="5963662" y="2018707"/>
                <a:ext cx="123907" cy="17351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cxnSpLocks/>
                <a:stCxn id="139" idx="0"/>
              </p:cNvCxnSpPr>
              <p:nvPr/>
            </p:nvCxnSpPr>
            <p:spPr>
              <a:xfrm flipH="1" flipV="1">
                <a:off x="2256747" y="2248612"/>
                <a:ext cx="191183" cy="12633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40" name="TextBox 123"/>
            <p:cNvSpPr txBox="1"/>
            <p:nvPr/>
          </p:nvSpPr>
          <p:spPr>
            <a:xfrm>
              <a:off x="1449318" y="2034548"/>
              <a:ext cx="1535919" cy="66650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anad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CT for K-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05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Education</a:t>
              </a:r>
              <a:endParaRPr kumimoji="0" lang="pt-BR" sz="105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pic>
        <p:nvPicPr>
          <p:cNvPr id="4" name="Imagem 3">
            <a:extLst>
              <a:ext uri="{FF2B5EF4-FFF2-40B4-BE49-F238E27FC236}">
                <a16:creationId xmlns:a16="http://schemas.microsoft.com/office/drawing/2014/main" id="{CEC064C7-EAA1-45E9-931F-3ED25D704C73}"/>
              </a:ext>
            </a:extLst>
          </p:cNvPr>
          <p:cNvPicPr>
            <a:picLocks noChangeAspect="1"/>
          </p:cNvPicPr>
          <p:nvPr/>
        </p:nvPicPr>
        <p:blipFill>
          <a:blip r:embed="rId16"/>
          <a:stretch>
            <a:fillRect/>
          </a:stretch>
        </p:blipFill>
        <p:spPr>
          <a:xfrm flipH="1">
            <a:off x="5021777" y="3580354"/>
            <a:ext cx="375129" cy="251562"/>
          </a:xfrm>
          <a:prstGeom prst="rect">
            <a:avLst/>
          </a:prstGeom>
        </p:spPr>
      </p:pic>
      <p:sp>
        <p:nvSpPr>
          <p:cNvPr id="5" name="CaixaDeTexto 4">
            <a:extLst>
              <a:ext uri="{FF2B5EF4-FFF2-40B4-BE49-F238E27FC236}">
                <a16:creationId xmlns:a16="http://schemas.microsoft.com/office/drawing/2014/main" id="{6461B3CC-EDF5-4A58-8033-A2FCA322DC72}"/>
              </a:ext>
            </a:extLst>
          </p:cNvPr>
          <p:cNvSpPr txBox="1"/>
          <p:nvPr/>
        </p:nvSpPr>
        <p:spPr>
          <a:xfrm>
            <a:off x="4731027" y="3803365"/>
            <a:ext cx="1236445" cy="246221"/>
          </a:xfrm>
          <a:prstGeom prst="rect">
            <a:avLst/>
          </a:prstGeom>
          <a:noFill/>
        </p:spPr>
        <p:txBody>
          <a:bodyPr wrap="square" rtlCol="0">
            <a:spAutoFit/>
          </a:bodyPr>
          <a:lstStyle/>
          <a:p>
            <a:r>
              <a:rPr lang="pt-BR" sz="1000" dirty="0"/>
              <a:t>GENIE </a:t>
            </a:r>
            <a:r>
              <a:rPr lang="pt-BR" sz="1000" dirty="0" err="1"/>
              <a:t>Program</a:t>
            </a:r>
            <a:endParaRPr lang="pt-BR" sz="1000" dirty="0"/>
          </a:p>
        </p:txBody>
      </p:sp>
      <p:pic>
        <p:nvPicPr>
          <p:cNvPr id="6" name="Imagem 5">
            <a:extLst>
              <a:ext uri="{FF2B5EF4-FFF2-40B4-BE49-F238E27FC236}">
                <a16:creationId xmlns:a16="http://schemas.microsoft.com/office/drawing/2014/main" id="{A05E792A-DF9D-45B0-96BE-94D53B9300AD}"/>
              </a:ext>
            </a:extLst>
          </p:cNvPr>
          <p:cNvPicPr>
            <a:picLocks noChangeAspect="1"/>
          </p:cNvPicPr>
          <p:nvPr/>
        </p:nvPicPr>
        <p:blipFill>
          <a:blip r:embed="rId17"/>
          <a:stretch>
            <a:fillRect/>
          </a:stretch>
        </p:blipFill>
        <p:spPr>
          <a:xfrm>
            <a:off x="5844837" y="5036093"/>
            <a:ext cx="311876" cy="209818"/>
          </a:xfrm>
          <a:prstGeom prst="rect">
            <a:avLst/>
          </a:prstGeom>
        </p:spPr>
      </p:pic>
      <p:pic>
        <p:nvPicPr>
          <p:cNvPr id="7" name="Imagem 6">
            <a:extLst>
              <a:ext uri="{FF2B5EF4-FFF2-40B4-BE49-F238E27FC236}">
                <a16:creationId xmlns:a16="http://schemas.microsoft.com/office/drawing/2014/main" id="{25E48748-52E2-44F4-881A-4221179056D3}"/>
              </a:ext>
            </a:extLst>
          </p:cNvPr>
          <p:cNvPicPr>
            <a:picLocks noChangeAspect="1"/>
          </p:cNvPicPr>
          <p:nvPr/>
        </p:nvPicPr>
        <p:blipFill>
          <a:blip r:embed="rId18"/>
          <a:stretch>
            <a:fillRect/>
          </a:stretch>
        </p:blipFill>
        <p:spPr>
          <a:xfrm>
            <a:off x="6402788" y="4173352"/>
            <a:ext cx="375439" cy="237241"/>
          </a:xfrm>
          <a:prstGeom prst="rect">
            <a:avLst/>
          </a:prstGeom>
        </p:spPr>
      </p:pic>
      <p:pic>
        <p:nvPicPr>
          <p:cNvPr id="8" name="Imagem 7">
            <a:extLst>
              <a:ext uri="{FF2B5EF4-FFF2-40B4-BE49-F238E27FC236}">
                <a16:creationId xmlns:a16="http://schemas.microsoft.com/office/drawing/2014/main" id="{B1C662D7-06C7-4EF3-AAD1-69054F02AF34}"/>
              </a:ext>
            </a:extLst>
          </p:cNvPr>
          <p:cNvPicPr>
            <a:picLocks noChangeAspect="1"/>
          </p:cNvPicPr>
          <p:nvPr/>
        </p:nvPicPr>
        <p:blipFill>
          <a:blip r:embed="rId19"/>
          <a:stretch>
            <a:fillRect/>
          </a:stretch>
        </p:blipFill>
        <p:spPr>
          <a:xfrm>
            <a:off x="2476061" y="4019880"/>
            <a:ext cx="393881" cy="235581"/>
          </a:xfrm>
          <a:prstGeom prst="rect">
            <a:avLst/>
          </a:prstGeom>
        </p:spPr>
      </p:pic>
      <p:sp>
        <p:nvSpPr>
          <p:cNvPr id="9" name="CaixaDeTexto 8">
            <a:extLst>
              <a:ext uri="{FF2B5EF4-FFF2-40B4-BE49-F238E27FC236}">
                <a16:creationId xmlns:a16="http://schemas.microsoft.com/office/drawing/2014/main" id="{90DD718C-002D-4340-BD25-A168D03302C2}"/>
              </a:ext>
            </a:extLst>
          </p:cNvPr>
          <p:cNvSpPr txBox="1"/>
          <p:nvPr/>
        </p:nvSpPr>
        <p:spPr>
          <a:xfrm>
            <a:off x="6148693" y="4428090"/>
            <a:ext cx="1393460" cy="246221"/>
          </a:xfrm>
          <a:prstGeom prst="rect">
            <a:avLst/>
          </a:prstGeom>
          <a:noFill/>
        </p:spPr>
        <p:txBody>
          <a:bodyPr wrap="square" rtlCol="0">
            <a:spAutoFit/>
          </a:bodyPr>
          <a:lstStyle/>
          <a:p>
            <a:r>
              <a:rPr lang="pt-BR" sz="1000" dirty="0" err="1"/>
              <a:t>Rwanda</a:t>
            </a:r>
            <a:r>
              <a:rPr lang="pt-BR" sz="1000" dirty="0"/>
              <a:t> EDPRES</a:t>
            </a:r>
          </a:p>
        </p:txBody>
      </p:sp>
      <p:sp>
        <p:nvSpPr>
          <p:cNvPr id="10" name="CaixaDeTexto 9">
            <a:extLst>
              <a:ext uri="{FF2B5EF4-FFF2-40B4-BE49-F238E27FC236}">
                <a16:creationId xmlns:a16="http://schemas.microsoft.com/office/drawing/2014/main" id="{B2A44E0D-C147-4990-91CA-D06FA745790E}"/>
              </a:ext>
            </a:extLst>
          </p:cNvPr>
          <p:cNvSpPr txBox="1"/>
          <p:nvPr/>
        </p:nvSpPr>
        <p:spPr>
          <a:xfrm flipH="1">
            <a:off x="5691235" y="5235091"/>
            <a:ext cx="969467" cy="246221"/>
          </a:xfrm>
          <a:prstGeom prst="rect">
            <a:avLst/>
          </a:prstGeom>
          <a:noFill/>
        </p:spPr>
        <p:txBody>
          <a:bodyPr wrap="square" rtlCol="0">
            <a:spAutoFit/>
          </a:bodyPr>
          <a:lstStyle/>
          <a:p>
            <a:r>
              <a:rPr lang="pt-BR" sz="1000" dirty="0"/>
              <a:t>Namíbia</a:t>
            </a:r>
          </a:p>
        </p:txBody>
      </p:sp>
      <p:sp>
        <p:nvSpPr>
          <p:cNvPr id="11" name="CaixaDeTexto 10">
            <a:extLst>
              <a:ext uri="{FF2B5EF4-FFF2-40B4-BE49-F238E27FC236}">
                <a16:creationId xmlns:a16="http://schemas.microsoft.com/office/drawing/2014/main" id="{D20CDC1C-936F-453E-89BA-B8CF190A764C}"/>
              </a:ext>
            </a:extLst>
          </p:cNvPr>
          <p:cNvSpPr txBox="1"/>
          <p:nvPr/>
        </p:nvSpPr>
        <p:spPr>
          <a:xfrm>
            <a:off x="2273278" y="4271251"/>
            <a:ext cx="1371773" cy="253916"/>
          </a:xfrm>
          <a:prstGeom prst="rect">
            <a:avLst/>
          </a:prstGeom>
          <a:noFill/>
        </p:spPr>
        <p:txBody>
          <a:bodyPr wrap="square" rtlCol="0">
            <a:spAutoFit/>
          </a:bodyPr>
          <a:lstStyle/>
          <a:p>
            <a:r>
              <a:rPr lang="pt-BR" sz="1050" dirty="0"/>
              <a:t>Costa Rica</a:t>
            </a:r>
          </a:p>
        </p:txBody>
      </p:sp>
      <p:pic>
        <p:nvPicPr>
          <p:cNvPr id="12" name="Imagem 11">
            <a:extLst>
              <a:ext uri="{FF2B5EF4-FFF2-40B4-BE49-F238E27FC236}">
                <a16:creationId xmlns:a16="http://schemas.microsoft.com/office/drawing/2014/main" id="{2B2AF37F-9F84-477D-A3F2-4D91813717BB}"/>
              </a:ext>
            </a:extLst>
          </p:cNvPr>
          <p:cNvPicPr>
            <a:picLocks noChangeAspect="1"/>
          </p:cNvPicPr>
          <p:nvPr/>
        </p:nvPicPr>
        <p:blipFill>
          <a:blip r:embed="rId20"/>
          <a:stretch>
            <a:fillRect/>
          </a:stretch>
        </p:blipFill>
        <p:spPr>
          <a:xfrm>
            <a:off x="8324256" y="3224886"/>
            <a:ext cx="400686" cy="254242"/>
          </a:xfrm>
          <a:prstGeom prst="rect">
            <a:avLst/>
          </a:prstGeom>
        </p:spPr>
      </p:pic>
      <p:pic>
        <p:nvPicPr>
          <p:cNvPr id="13" name="Imagem 12">
            <a:extLst>
              <a:ext uri="{FF2B5EF4-FFF2-40B4-BE49-F238E27FC236}">
                <a16:creationId xmlns:a16="http://schemas.microsoft.com/office/drawing/2014/main" id="{4DD4DB3E-C9F0-4082-BB93-79A5E06BF7B8}"/>
              </a:ext>
            </a:extLst>
          </p:cNvPr>
          <p:cNvPicPr>
            <a:picLocks noChangeAspect="1"/>
          </p:cNvPicPr>
          <p:nvPr/>
        </p:nvPicPr>
        <p:blipFill>
          <a:blip r:embed="rId21"/>
          <a:stretch>
            <a:fillRect/>
          </a:stretch>
        </p:blipFill>
        <p:spPr>
          <a:xfrm flipH="1">
            <a:off x="6653834" y="3332147"/>
            <a:ext cx="375129" cy="250875"/>
          </a:xfrm>
          <a:prstGeom prst="rect">
            <a:avLst/>
          </a:prstGeom>
        </p:spPr>
      </p:pic>
      <p:sp>
        <p:nvSpPr>
          <p:cNvPr id="14" name="CaixaDeTexto 13">
            <a:extLst>
              <a:ext uri="{FF2B5EF4-FFF2-40B4-BE49-F238E27FC236}">
                <a16:creationId xmlns:a16="http://schemas.microsoft.com/office/drawing/2014/main" id="{7A69E881-00B4-4F11-B6A1-2BE53A9C2CDB}"/>
              </a:ext>
            </a:extLst>
          </p:cNvPr>
          <p:cNvSpPr txBox="1"/>
          <p:nvPr/>
        </p:nvSpPr>
        <p:spPr>
          <a:xfrm>
            <a:off x="6617814" y="3575937"/>
            <a:ext cx="917059" cy="253916"/>
          </a:xfrm>
          <a:prstGeom prst="rect">
            <a:avLst/>
          </a:prstGeom>
          <a:noFill/>
        </p:spPr>
        <p:txBody>
          <a:bodyPr wrap="square" rtlCol="0">
            <a:spAutoFit/>
          </a:bodyPr>
          <a:lstStyle/>
          <a:p>
            <a:r>
              <a:rPr lang="pt-BR" sz="1050" dirty="0"/>
              <a:t>Jordan</a:t>
            </a:r>
          </a:p>
        </p:txBody>
      </p:sp>
      <p:sp>
        <p:nvSpPr>
          <p:cNvPr id="15" name="CaixaDeTexto 14">
            <a:extLst>
              <a:ext uri="{FF2B5EF4-FFF2-40B4-BE49-F238E27FC236}">
                <a16:creationId xmlns:a16="http://schemas.microsoft.com/office/drawing/2014/main" id="{BAF9134D-1708-44DB-A847-7D2DD9433D8E}"/>
              </a:ext>
            </a:extLst>
          </p:cNvPr>
          <p:cNvSpPr txBox="1"/>
          <p:nvPr/>
        </p:nvSpPr>
        <p:spPr>
          <a:xfrm>
            <a:off x="8294066" y="3444577"/>
            <a:ext cx="958755" cy="253916"/>
          </a:xfrm>
          <a:prstGeom prst="rect">
            <a:avLst/>
          </a:prstGeom>
          <a:noFill/>
        </p:spPr>
        <p:txBody>
          <a:bodyPr wrap="square" rtlCol="0">
            <a:spAutoFit/>
          </a:bodyPr>
          <a:lstStyle/>
          <a:p>
            <a:r>
              <a:rPr lang="pt-BR" sz="1050" dirty="0"/>
              <a:t>China</a:t>
            </a:r>
          </a:p>
        </p:txBody>
      </p:sp>
      <p:pic>
        <p:nvPicPr>
          <p:cNvPr id="16" name="Imagem 15">
            <a:extLst>
              <a:ext uri="{FF2B5EF4-FFF2-40B4-BE49-F238E27FC236}">
                <a16:creationId xmlns:a16="http://schemas.microsoft.com/office/drawing/2014/main" id="{1F6E7964-29FA-4038-9003-E179E1DA37BD}"/>
              </a:ext>
            </a:extLst>
          </p:cNvPr>
          <p:cNvPicPr>
            <a:picLocks noChangeAspect="1"/>
          </p:cNvPicPr>
          <p:nvPr/>
        </p:nvPicPr>
        <p:blipFill>
          <a:blip r:embed="rId22"/>
          <a:stretch>
            <a:fillRect/>
          </a:stretch>
        </p:blipFill>
        <p:spPr>
          <a:xfrm>
            <a:off x="3797626" y="4553408"/>
            <a:ext cx="505655" cy="342648"/>
          </a:xfrm>
          <a:prstGeom prst="rect">
            <a:avLst/>
          </a:prstGeom>
        </p:spPr>
      </p:pic>
      <p:sp>
        <p:nvSpPr>
          <p:cNvPr id="17" name="CaixaDeTexto 16">
            <a:extLst>
              <a:ext uri="{FF2B5EF4-FFF2-40B4-BE49-F238E27FC236}">
                <a16:creationId xmlns:a16="http://schemas.microsoft.com/office/drawing/2014/main" id="{E4B83EDE-8677-4260-B108-935B271CC43C}"/>
              </a:ext>
            </a:extLst>
          </p:cNvPr>
          <p:cNvSpPr txBox="1"/>
          <p:nvPr/>
        </p:nvSpPr>
        <p:spPr>
          <a:xfrm>
            <a:off x="3390113" y="4849208"/>
            <a:ext cx="1446400" cy="430887"/>
          </a:xfrm>
          <a:prstGeom prst="rect">
            <a:avLst/>
          </a:prstGeom>
          <a:noFill/>
        </p:spPr>
        <p:txBody>
          <a:bodyPr wrap="square" rtlCol="0">
            <a:spAutoFit/>
          </a:bodyPr>
          <a:lstStyle/>
          <a:p>
            <a:r>
              <a:rPr lang="pt-BR" sz="1100" dirty="0"/>
              <a:t>Programa</a:t>
            </a:r>
          </a:p>
          <a:p>
            <a:r>
              <a:rPr lang="pt-BR" sz="1100" dirty="0"/>
              <a:t> Educação Conectada</a:t>
            </a:r>
          </a:p>
        </p:txBody>
      </p:sp>
    </p:spTree>
    <p:extLst>
      <p:ext uri="{BB962C8B-B14F-4D97-AF65-F5344CB8AC3E}">
        <p14:creationId xmlns:p14="http://schemas.microsoft.com/office/powerpoint/2010/main" val="2263140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F16D83D-DF26-4F0B-8FC5-880148B74AED}"/>
              </a:ext>
            </a:extLst>
          </p:cNvPr>
          <p:cNvSpPr>
            <a:spLocks noGrp="1"/>
          </p:cNvSpPr>
          <p:nvPr>
            <p:ph type="title"/>
          </p:nvPr>
        </p:nvSpPr>
        <p:spPr>
          <a:xfrm>
            <a:off x="516675" y="325485"/>
            <a:ext cx="11158650" cy="701731"/>
          </a:xfrm>
        </p:spPr>
        <p:txBody>
          <a:bodyPr/>
          <a:lstStyle/>
          <a:p>
            <a:r>
              <a:rPr lang="pt-BR" dirty="0"/>
              <a:t>Mas as políticas focam em diferentes níveis....</a:t>
            </a:r>
          </a:p>
        </p:txBody>
      </p:sp>
      <p:graphicFrame>
        <p:nvGraphicFramePr>
          <p:cNvPr id="4" name="Espaço Reservado para Conteúdo 3">
            <a:extLst>
              <a:ext uri="{FF2B5EF4-FFF2-40B4-BE49-F238E27FC236}">
                <a16:creationId xmlns:a16="http://schemas.microsoft.com/office/drawing/2014/main" id="{2BCE0C61-C9A5-423A-B2D0-758F97465CE2}"/>
              </a:ext>
            </a:extLst>
          </p:cNvPr>
          <p:cNvGraphicFramePr>
            <a:graphicFrameLocks noGrp="1"/>
          </p:cNvGraphicFramePr>
          <p:nvPr>
            <p:ph idx="1"/>
            <p:extLst>
              <p:ext uri="{D42A27DB-BD31-4B8C-83A1-F6EECF244321}">
                <p14:modId xmlns:p14="http://schemas.microsoft.com/office/powerpoint/2010/main" val="3502403500"/>
              </p:ext>
            </p:extLst>
          </p:nvPr>
        </p:nvGraphicFramePr>
        <p:xfrm>
          <a:off x="265034" y="3179041"/>
          <a:ext cx="8178078" cy="41894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orma em L 4">
            <a:extLst>
              <a:ext uri="{FF2B5EF4-FFF2-40B4-BE49-F238E27FC236}">
                <a16:creationId xmlns:a16="http://schemas.microsoft.com/office/drawing/2014/main" id="{CCF41DC0-0735-4124-B2BA-6BAD44D8BF12}"/>
              </a:ext>
            </a:extLst>
          </p:cNvPr>
          <p:cNvSpPr/>
          <p:nvPr/>
        </p:nvSpPr>
        <p:spPr>
          <a:xfrm rot="5400000">
            <a:off x="9116859" y="1525921"/>
            <a:ext cx="1529600" cy="2545220"/>
          </a:xfrm>
          <a:prstGeom prst="corner">
            <a:avLst>
              <a:gd name="adj1" fmla="val 16120"/>
              <a:gd name="adj2" fmla="val 16110"/>
            </a:avLst>
          </a:prstGeom>
          <a:solidFill>
            <a:srgbClr val="FF0000"/>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CaixaDeTexto 6">
            <a:extLst>
              <a:ext uri="{FF2B5EF4-FFF2-40B4-BE49-F238E27FC236}">
                <a16:creationId xmlns:a16="http://schemas.microsoft.com/office/drawing/2014/main" id="{B22CEA6C-75FF-4398-8372-7E357BBFF2A6}"/>
              </a:ext>
            </a:extLst>
          </p:cNvPr>
          <p:cNvSpPr txBox="1"/>
          <p:nvPr/>
        </p:nvSpPr>
        <p:spPr>
          <a:xfrm flipH="1">
            <a:off x="8891684" y="2506143"/>
            <a:ext cx="3143297" cy="646331"/>
          </a:xfrm>
          <a:prstGeom prst="rect">
            <a:avLst/>
          </a:prstGeom>
          <a:noFill/>
        </p:spPr>
        <p:txBody>
          <a:bodyPr wrap="square" rtlCol="0">
            <a:spAutoFit/>
          </a:bodyPr>
          <a:lstStyle/>
          <a:p>
            <a:r>
              <a:rPr lang="pt-BR" sz="3600" b="1" dirty="0"/>
              <a:t>Transformação</a:t>
            </a:r>
          </a:p>
        </p:txBody>
      </p:sp>
      <p:sp>
        <p:nvSpPr>
          <p:cNvPr id="8" name="Triângulo isósceles 7">
            <a:extLst>
              <a:ext uri="{FF2B5EF4-FFF2-40B4-BE49-F238E27FC236}">
                <a16:creationId xmlns:a16="http://schemas.microsoft.com/office/drawing/2014/main" id="{7A84F63F-FEBD-481B-802F-1D28946612B4}"/>
              </a:ext>
            </a:extLst>
          </p:cNvPr>
          <p:cNvSpPr/>
          <p:nvPr/>
        </p:nvSpPr>
        <p:spPr>
          <a:xfrm>
            <a:off x="8226335" y="1438073"/>
            <a:ext cx="433554" cy="433554"/>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4041001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FFC744-5291-4E1A-ACF3-5005E722C215}"/>
              </a:ext>
            </a:extLst>
          </p:cNvPr>
          <p:cNvSpPr>
            <a:spLocks noGrp="1"/>
          </p:cNvSpPr>
          <p:nvPr>
            <p:ph type="title"/>
          </p:nvPr>
        </p:nvSpPr>
        <p:spPr>
          <a:xfrm>
            <a:off x="531327" y="434254"/>
            <a:ext cx="11158650" cy="646331"/>
          </a:xfrm>
        </p:spPr>
        <p:txBody>
          <a:bodyPr/>
          <a:lstStyle/>
          <a:p>
            <a:r>
              <a:rPr lang="pt-BR" sz="4000" dirty="0"/>
              <a:t>E em diferentes aspectos...</a:t>
            </a:r>
          </a:p>
        </p:txBody>
      </p:sp>
      <p:graphicFrame>
        <p:nvGraphicFramePr>
          <p:cNvPr id="4" name="Espaço Reservado para Conteúdo 3">
            <a:extLst>
              <a:ext uri="{FF2B5EF4-FFF2-40B4-BE49-F238E27FC236}">
                <a16:creationId xmlns:a16="http://schemas.microsoft.com/office/drawing/2014/main" id="{949AFA81-9CBC-46C1-AFB6-1145371BD950}"/>
              </a:ext>
            </a:extLst>
          </p:cNvPr>
          <p:cNvGraphicFramePr>
            <a:graphicFrameLocks noGrp="1"/>
          </p:cNvGraphicFramePr>
          <p:nvPr>
            <p:ph idx="1"/>
            <p:extLst>
              <p:ext uri="{D42A27DB-BD31-4B8C-83A1-F6EECF244321}">
                <p14:modId xmlns:p14="http://schemas.microsoft.com/office/powerpoint/2010/main" val="615818287"/>
              </p:ext>
            </p:extLst>
          </p:nvPr>
        </p:nvGraphicFramePr>
        <p:xfrm>
          <a:off x="1314450" y="50800"/>
          <a:ext cx="13842423" cy="73215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CaixaDeTexto 5">
            <a:extLst>
              <a:ext uri="{FF2B5EF4-FFF2-40B4-BE49-F238E27FC236}">
                <a16:creationId xmlns:a16="http://schemas.microsoft.com/office/drawing/2014/main" id="{655C098F-31ED-42CE-AF0B-C220314DD4F7}"/>
              </a:ext>
            </a:extLst>
          </p:cNvPr>
          <p:cNvSpPr txBox="1"/>
          <p:nvPr/>
        </p:nvSpPr>
        <p:spPr>
          <a:xfrm flipH="1">
            <a:off x="234890" y="2004830"/>
            <a:ext cx="4360490" cy="415498"/>
          </a:xfrm>
          <a:prstGeom prst="rect">
            <a:avLst/>
          </a:prstGeom>
          <a:noFill/>
        </p:spPr>
        <p:txBody>
          <a:bodyPr wrap="square" rtlCol="0">
            <a:spAutoFit/>
          </a:bodyPr>
          <a:lstStyle/>
          <a:p>
            <a:r>
              <a:rPr lang="pt-BR" sz="1050" dirty="0"/>
              <a:t>Fonte: </a:t>
            </a:r>
            <a:r>
              <a:rPr lang="pt-BR" sz="1050" dirty="0" err="1"/>
              <a:t>Transforming</a:t>
            </a:r>
            <a:r>
              <a:rPr lang="pt-BR" sz="1050" dirty="0"/>
              <a:t> </a:t>
            </a:r>
            <a:r>
              <a:rPr lang="pt-BR" sz="1050" dirty="0" err="1"/>
              <a:t>Education</a:t>
            </a:r>
            <a:r>
              <a:rPr lang="pt-BR" sz="1050" dirty="0"/>
              <a:t>: The Power </a:t>
            </a:r>
            <a:r>
              <a:rPr lang="pt-BR" sz="1050" dirty="0" err="1"/>
              <a:t>of</a:t>
            </a:r>
            <a:r>
              <a:rPr lang="pt-BR" sz="1050" dirty="0"/>
              <a:t> ICT Policies. Robert </a:t>
            </a:r>
            <a:r>
              <a:rPr lang="pt-BR" sz="1050" dirty="0" err="1"/>
              <a:t>Kosma</a:t>
            </a:r>
            <a:r>
              <a:rPr lang="pt-BR" sz="1050" dirty="0"/>
              <a:t>, UNESCO, 2011</a:t>
            </a:r>
          </a:p>
        </p:txBody>
      </p:sp>
    </p:spTree>
    <p:extLst>
      <p:ext uri="{BB962C8B-B14F-4D97-AF65-F5344CB8AC3E}">
        <p14:creationId xmlns:p14="http://schemas.microsoft.com/office/powerpoint/2010/main" val="2399663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0025" y="-8943"/>
            <a:ext cx="11489952" cy="1089529"/>
          </a:xfrm>
        </p:spPr>
        <p:txBody>
          <a:bodyPr/>
          <a:lstStyle/>
          <a:p>
            <a:br>
              <a:rPr lang="pt-BR" sz="2400" dirty="0">
                <a:ea typeface="Lato Black" charset="0"/>
                <a:cs typeface="Lato Black" charset="0"/>
              </a:rPr>
            </a:br>
            <a:br>
              <a:rPr lang="pt-BR" sz="2400" dirty="0">
                <a:ea typeface="Lato Black" charset="0"/>
                <a:cs typeface="Lato Black" charset="0"/>
              </a:rPr>
            </a:br>
            <a:r>
              <a:rPr lang="pt-BR" sz="2400" dirty="0">
                <a:ea typeface="Lato Black" charset="0"/>
                <a:cs typeface="Lato Black" charset="0"/>
              </a:rPr>
              <a:t> PLANEJAMENTO E IMPLEMENTAÇÃO EM VÁRIAS DIMENSÕES</a:t>
            </a:r>
            <a:endParaRPr lang="en-US" sz="2400" dirty="0"/>
          </a:p>
        </p:txBody>
      </p:sp>
      <p:grpSp>
        <p:nvGrpSpPr>
          <p:cNvPr id="61" name="Group 60"/>
          <p:cNvGrpSpPr/>
          <p:nvPr/>
        </p:nvGrpSpPr>
        <p:grpSpPr>
          <a:xfrm>
            <a:off x="1943867" y="1807382"/>
            <a:ext cx="8304267" cy="5050618"/>
            <a:chOff x="2046654" y="1916566"/>
            <a:chExt cx="7543867" cy="4588146"/>
          </a:xfrm>
        </p:grpSpPr>
        <p:sp>
          <p:nvSpPr>
            <p:cNvPr id="6" name="Retângulo 9"/>
            <p:cNvSpPr/>
            <p:nvPr/>
          </p:nvSpPr>
          <p:spPr>
            <a:xfrm>
              <a:off x="2046654" y="1958803"/>
              <a:ext cx="3071682" cy="3431709"/>
            </a:xfrm>
            <a:prstGeom prst="rect">
              <a:avLst/>
            </a:prstGeom>
            <a:solidFill>
              <a:srgbClr val="141E3D"/>
            </a:solidFill>
            <a:ln>
              <a:solidFill>
                <a:srgbClr val="85C440">
                  <a:lumMod val="20000"/>
                  <a:lumOff val="80000"/>
                </a:srgb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000" b="1" i="1" u="none" strike="noStrike" kern="0" cap="none" spc="0" normalizeH="0" baseline="0" noProof="0" dirty="0">
                  <a:ln>
                    <a:noFill/>
                  </a:ln>
                  <a:solidFill>
                    <a:prstClr val="white"/>
                  </a:solidFill>
                  <a:effectLst/>
                  <a:uLnTx/>
                  <a:uFillTx/>
                  <a:latin typeface="Calibri"/>
                  <a:ea typeface="+mn-ea"/>
                  <a:cs typeface="Arial" pitchFamily="34" charset="0"/>
                </a:rPr>
                <a:t>Para que o uso de </a:t>
              </a:r>
              <a:r>
                <a:rPr kumimoji="0" lang="pt-BR" sz="2000" b="1" i="1" u="none" strike="noStrike" kern="0" cap="none" spc="0" normalizeH="0" baseline="0" noProof="0" dirty="0" err="1">
                  <a:ln>
                    <a:noFill/>
                  </a:ln>
                  <a:solidFill>
                    <a:prstClr val="white"/>
                  </a:solidFill>
                  <a:effectLst/>
                  <a:uLnTx/>
                  <a:uFillTx/>
                  <a:latin typeface="Calibri"/>
                  <a:ea typeface="+mn-ea"/>
                  <a:cs typeface="Arial" pitchFamily="34" charset="0"/>
                </a:rPr>
                <a:t>TICs</a:t>
              </a:r>
              <a:r>
                <a:rPr kumimoji="0" lang="pt-BR" sz="2000" b="1" i="1" u="none" strike="noStrike" kern="0" cap="none" spc="0" normalizeH="0" baseline="0" noProof="0" dirty="0">
                  <a:ln>
                    <a:noFill/>
                  </a:ln>
                  <a:solidFill>
                    <a:prstClr val="white"/>
                  </a:solidFill>
                  <a:effectLst/>
                  <a:uLnTx/>
                  <a:uFillTx/>
                  <a:latin typeface="Calibri"/>
                  <a:ea typeface="+mn-ea"/>
                  <a:cs typeface="Arial" pitchFamily="34" charset="0"/>
                </a:rPr>
                <a:t> tenha efeito positivo na educação, </a:t>
              </a:r>
              <a:r>
                <a:rPr kumimoji="0" lang="pt-BR" sz="2000" b="1" i="1" u="sng" strike="noStrike" kern="0" cap="none" spc="0" normalizeH="0" baseline="0" noProof="0" dirty="0">
                  <a:ln>
                    <a:noFill/>
                  </a:ln>
                  <a:solidFill>
                    <a:prstClr val="white"/>
                  </a:solidFill>
                  <a:effectLst/>
                  <a:uLnTx/>
                  <a:uFillTx/>
                  <a:latin typeface="Calibri"/>
                  <a:ea typeface="+mn-ea"/>
                  <a:cs typeface="Arial" pitchFamily="34" charset="0"/>
                </a:rPr>
                <a:t>quatro dimensões</a:t>
              </a:r>
              <a:r>
                <a:rPr kumimoji="0" lang="pt-BR" sz="2000" b="1" i="1" u="none" strike="noStrike" kern="0" cap="none" spc="0" normalizeH="0" baseline="0" noProof="0" dirty="0">
                  <a:ln>
                    <a:noFill/>
                  </a:ln>
                  <a:solidFill>
                    <a:prstClr val="white"/>
                  </a:solidFill>
                  <a:effectLst/>
                  <a:uLnTx/>
                  <a:uFillTx/>
                  <a:latin typeface="Calibri"/>
                  <a:ea typeface="+mn-ea"/>
                  <a:cs typeface="Arial" pitchFamily="34" charset="0"/>
                </a:rPr>
                <a:t> devem ser contempladas e estar em </a:t>
              </a:r>
              <a:r>
                <a:rPr kumimoji="0" lang="pt-BR" sz="2000" b="1" i="1" u="sng" strike="noStrike" kern="0" cap="none" spc="0" normalizeH="0" baseline="0" noProof="0" dirty="0">
                  <a:ln>
                    <a:noFill/>
                  </a:ln>
                  <a:solidFill>
                    <a:prstClr val="white"/>
                  </a:solidFill>
                  <a:effectLst/>
                  <a:uLnTx/>
                  <a:uFillTx/>
                  <a:latin typeface="Calibri"/>
                  <a:ea typeface="+mn-ea"/>
                  <a:cs typeface="Arial" pitchFamily="34" charset="0"/>
                </a:rPr>
                <a:t>equilíbrio</a:t>
              </a:r>
              <a:r>
                <a:rPr kumimoji="0" lang="pt-BR" sz="2000" b="1" i="1" u="none" strike="noStrike" kern="0" cap="none" spc="0" normalizeH="0" baseline="0" noProof="0" dirty="0">
                  <a:ln>
                    <a:noFill/>
                  </a:ln>
                  <a:solidFill>
                    <a:prstClr val="white"/>
                  </a:solidFill>
                  <a:effectLst/>
                  <a:uLnTx/>
                  <a:uFillTx/>
                  <a:latin typeface="Calibri"/>
                  <a:ea typeface="+mn-ea"/>
                  <a:cs typeface="Arial" pitchFamily="34" charset="0"/>
                </a:rPr>
                <a:t>. Se há uma dimensão pouco desenvolvida, o conjunto será comprometid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500" b="1" i="1" u="none" strike="noStrike" kern="0" cap="none" spc="0" normalizeH="0" baseline="0" noProof="0" dirty="0">
                <a:ln>
                  <a:noFill/>
                </a:ln>
                <a:solidFill>
                  <a:prstClr val="white"/>
                </a:solidFill>
                <a:effectLst/>
                <a:uLnTx/>
                <a:uFillTx/>
                <a:latin typeface="Calibri"/>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1" u="none" strike="noStrike" kern="0" cap="none" spc="0" normalizeH="0" baseline="0" noProof="0" dirty="0">
                  <a:ln>
                    <a:noFill/>
                  </a:ln>
                  <a:solidFill>
                    <a:prstClr val="white"/>
                  </a:solidFill>
                  <a:effectLst/>
                  <a:uLnTx/>
                  <a:uFillTx/>
                  <a:latin typeface="Calibri"/>
                  <a:ea typeface="+mn-ea"/>
                  <a:cs typeface="Arial" pitchFamily="34" charset="0"/>
                </a:rPr>
                <a:t>(</a:t>
              </a:r>
              <a:r>
                <a:rPr kumimoji="0" lang="pt-BR" sz="1600" b="0" i="0" u="none" strike="noStrike" kern="0" cap="none" spc="0" normalizeH="0" baseline="0" noProof="0" dirty="0">
                  <a:ln>
                    <a:noFill/>
                  </a:ln>
                  <a:solidFill>
                    <a:prstClr val="white"/>
                  </a:solidFill>
                  <a:effectLst/>
                  <a:uLnTx/>
                  <a:uFillTx/>
                  <a:latin typeface="Calibri"/>
                  <a:ea typeface="+mn-ea"/>
                  <a:cs typeface="Arial" pitchFamily="34" charset="0"/>
                </a:rPr>
                <a:t>Teoria</a:t>
              </a:r>
              <a:r>
                <a:rPr kumimoji="0" lang="pt-BR" sz="1600" b="0" i="1" u="none" strike="noStrike" kern="0" cap="none" spc="0" normalizeH="0" baseline="0" noProof="0" dirty="0">
                  <a:ln>
                    <a:noFill/>
                  </a:ln>
                  <a:solidFill>
                    <a:prstClr val="white"/>
                  </a:solidFill>
                  <a:effectLst/>
                  <a:uLnTx/>
                  <a:uFillTx/>
                  <a:latin typeface="Calibri"/>
                  <a:ea typeface="+mn-ea"/>
                  <a:cs typeface="Arial" pitchFamily="34" charset="0"/>
                </a:rPr>
                <a:t> Four in Balance, </a:t>
              </a:r>
              <a:r>
                <a:rPr kumimoji="0" lang="pt-BR" sz="1600" b="0" i="1" u="none" strike="noStrike" kern="0" cap="none" spc="0" normalizeH="0" baseline="0" noProof="0" dirty="0" err="1">
                  <a:ln>
                    <a:noFill/>
                  </a:ln>
                  <a:solidFill>
                    <a:prstClr val="white"/>
                  </a:solidFill>
                  <a:effectLst/>
                  <a:uLnTx/>
                  <a:uFillTx/>
                  <a:latin typeface="Calibri"/>
                  <a:ea typeface="+mn-ea"/>
                  <a:cs typeface="Arial" pitchFamily="34" charset="0"/>
                </a:rPr>
                <a:t>Kennisnet</a:t>
              </a:r>
              <a:r>
                <a:rPr kumimoji="0" lang="pt-BR" sz="1600" b="0" i="1" u="none" strike="noStrike" kern="0" cap="none" spc="0" normalizeH="0" baseline="0" noProof="0" dirty="0">
                  <a:ln>
                    <a:noFill/>
                  </a:ln>
                  <a:solidFill>
                    <a:prstClr val="white"/>
                  </a:solidFill>
                  <a:effectLst/>
                  <a:uLnTx/>
                  <a:uFillTx/>
                  <a:latin typeface="Calibri"/>
                  <a:ea typeface="+mn-ea"/>
                  <a:cs typeface="Arial" pitchFamily="34" charset="0"/>
                </a:rPr>
                <a:t>, </a:t>
              </a:r>
              <a:r>
                <a:rPr kumimoji="0" lang="pt-BR" sz="1600" b="0" i="0" u="none" strike="noStrike" kern="0" cap="none" spc="0" normalizeH="0" baseline="0" noProof="0" dirty="0">
                  <a:ln>
                    <a:noFill/>
                  </a:ln>
                  <a:solidFill>
                    <a:prstClr val="white"/>
                  </a:solidFill>
                  <a:effectLst/>
                  <a:uLnTx/>
                  <a:uFillTx/>
                  <a:latin typeface="Calibri"/>
                  <a:ea typeface="+mn-ea"/>
                  <a:cs typeface="Arial" pitchFamily="34" charset="0"/>
                </a:rPr>
                <a:t>Holanda</a:t>
              </a:r>
              <a:r>
                <a:rPr kumimoji="0" lang="pt-BR" sz="1600" b="0" i="1" u="none" strike="noStrike" kern="0" cap="none" spc="0" normalizeH="0" baseline="0" noProof="0" dirty="0">
                  <a:ln>
                    <a:noFill/>
                  </a:ln>
                  <a:solidFill>
                    <a:prstClr val="white"/>
                  </a:solidFill>
                  <a:effectLst/>
                  <a:uLnTx/>
                  <a:uFillTx/>
                  <a:latin typeface="Calibri"/>
                  <a:ea typeface="+mn-ea"/>
                  <a:cs typeface="Arial" pitchFamily="34" charset="0"/>
                </a:rPr>
                <a:t>)</a:t>
              </a:r>
            </a:p>
          </p:txBody>
        </p:sp>
        <p:sp>
          <p:nvSpPr>
            <p:cNvPr id="7" name="FlowTriangle"/>
            <p:cNvSpPr>
              <a:spLocks noChangeArrowheads="1"/>
            </p:cNvSpPr>
            <p:nvPr/>
          </p:nvSpPr>
          <p:spPr bwMode="gray">
            <a:xfrm rot="5400000">
              <a:off x="3777653" y="3512560"/>
              <a:ext cx="3457344" cy="372051"/>
            </a:xfrm>
            <a:prstGeom prst="triangle">
              <a:avLst>
                <a:gd name="adj" fmla="val 50000"/>
              </a:avLst>
            </a:prstGeom>
            <a:solidFill>
              <a:srgbClr val="141E3D"/>
            </a:solidFill>
            <a:ln>
              <a:solidFill>
                <a:srgbClr val="85C440">
                  <a:lumMod val="20000"/>
                  <a:lumOff val="80000"/>
                </a:srgb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2000" b="1" i="0" u="none" strike="noStrike" kern="0" cap="none" spc="0" normalizeH="0" baseline="0" noProof="0" dirty="0">
                <a:ln>
                  <a:noFill/>
                </a:ln>
                <a:solidFill>
                  <a:prstClr val="white"/>
                </a:solidFill>
                <a:effectLst/>
                <a:uLnTx/>
                <a:uFillTx/>
                <a:latin typeface="Calibri"/>
                <a:ea typeface="+mn-ea"/>
                <a:cs typeface="Arial" pitchFamily="34" charset="0"/>
              </a:endParaRPr>
            </a:p>
          </p:txBody>
        </p:sp>
        <p:grpSp>
          <p:nvGrpSpPr>
            <p:cNvPr id="28" name="Group 27"/>
            <p:cNvGrpSpPr/>
            <p:nvPr/>
          </p:nvGrpSpPr>
          <p:grpSpPr>
            <a:xfrm>
              <a:off x="5841583" y="1916566"/>
              <a:ext cx="3539488" cy="3494087"/>
              <a:chOff x="5972480" y="2034894"/>
              <a:chExt cx="3539488" cy="3494087"/>
            </a:xfrm>
          </p:grpSpPr>
          <p:sp>
            <p:nvSpPr>
              <p:cNvPr id="8" name="clipart_4puzzlepieces"/>
              <p:cNvSpPr>
                <a:spLocks/>
              </p:cNvSpPr>
              <p:nvPr/>
            </p:nvSpPr>
            <p:spPr bwMode="gray">
              <a:xfrm>
                <a:off x="7657585" y="2034894"/>
                <a:ext cx="1814372" cy="1874837"/>
              </a:xfrm>
              <a:custGeom>
                <a:avLst/>
                <a:gdLst>
                  <a:gd name="T0" fmla="*/ 2147483647 w 499"/>
                  <a:gd name="T1" fmla="*/ 0 h 500"/>
                  <a:gd name="T2" fmla="*/ 2147483647 w 499"/>
                  <a:gd name="T3" fmla="*/ 0 h 500"/>
                  <a:gd name="T4" fmla="*/ 2147483647 w 499"/>
                  <a:gd name="T5" fmla="*/ 2147483647 h 500"/>
                  <a:gd name="T6" fmla="*/ 2147483647 w 499"/>
                  <a:gd name="T7" fmla="*/ 2147483647 h 500"/>
                  <a:gd name="T8" fmla="*/ 2147483647 w 499"/>
                  <a:gd name="T9" fmla="*/ 2147483647 h 500"/>
                  <a:gd name="T10" fmla="*/ 2147483647 w 499"/>
                  <a:gd name="T11" fmla="*/ 2147483647 h 500"/>
                  <a:gd name="T12" fmla="*/ 0 w 499"/>
                  <a:gd name="T13" fmla="*/ 2147483647 h 500"/>
                  <a:gd name="T14" fmla="*/ 0 w 499"/>
                  <a:gd name="T15" fmla="*/ 2147483647 h 500"/>
                  <a:gd name="T16" fmla="*/ 2147483647 w 499"/>
                  <a:gd name="T17" fmla="*/ 2147483647 h 500"/>
                  <a:gd name="T18" fmla="*/ 2147483647 w 499"/>
                  <a:gd name="T19" fmla="*/ 2147483647 h 500"/>
                  <a:gd name="T20" fmla="*/ 2147483647 w 499"/>
                  <a:gd name="T21" fmla="*/ 2147483647 h 500"/>
                  <a:gd name="T22" fmla="*/ 2147483647 w 499"/>
                  <a:gd name="T23" fmla="*/ 2147483647 h 500"/>
                  <a:gd name="T24" fmla="*/ 2147483647 w 499"/>
                  <a:gd name="T25" fmla="*/ 2147483647 h 500"/>
                  <a:gd name="T26" fmla="*/ 2147483647 w 499"/>
                  <a:gd name="T27" fmla="*/ 2147483647 h 500"/>
                  <a:gd name="T28" fmla="*/ 2147483647 w 499"/>
                  <a:gd name="T29" fmla="*/ 2147483647 h 500"/>
                  <a:gd name="T30" fmla="*/ 2147483647 w 499"/>
                  <a:gd name="T31" fmla="*/ 2147483647 h 500"/>
                  <a:gd name="T32" fmla="*/ 2147483647 w 499"/>
                  <a:gd name="T33" fmla="*/ 2147483647 h 500"/>
                  <a:gd name="T34" fmla="*/ 2147483647 w 499"/>
                  <a:gd name="T35" fmla="*/ 2147483647 h 500"/>
                  <a:gd name="T36" fmla="*/ 2147483647 w 499"/>
                  <a:gd name="T37" fmla="*/ 2147483647 h 500"/>
                  <a:gd name="T38" fmla="*/ 2147483647 w 499"/>
                  <a:gd name="T39" fmla="*/ 2147483647 h 500"/>
                  <a:gd name="T40" fmla="*/ 2147483647 w 499"/>
                  <a:gd name="T41" fmla="*/ 2147483647 h 500"/>
                  <a:gd name="T42" fmla="*/ 2147483647 w 499"/>
                  <a:gd name="T43" fmla="*/ 2147483647 h 500"/>
                  <a:gd name="T44" fmla="*/ 2147483647 w 499"/>
                  <a:gd name="T45" fmla="*/ 2147483647 h 500"/>
                  <a:gd name="T46" fmla="*/ 2147483647 w 499"/>
                  <a:gd name="T47" fmla="*/ 2147483647 h 500"/>
                  <a:gd name="T48" fmla="*/ 2147483647 w 499"/>
                  <a:gd name="T49" fmla="*/ 2147483647 h 500"/>
                  <a:gd name="T50" fmla="*/ 2147483647 w 499"/>
                  <a:gd name="T51" fmla="*/ 2147483647 h 500"/>
                  <a:gd name="T52" fmla="*/ 2147483647 w 499"/>
                  <a:gd name="T53" fmla="*/ 2147483647 h 500"/>
                  <a:gd name="T54" fmla="*/ 2147483647 w 499"/>
                  <a:gd name="T55" fmla="*/ 2147483647 h 500"/>
                  <a:gd name="T56" fmla="*/ 2147483647 w 499"/>
                  <a:gd name="T57" fmla="*/ 2147483647 h 500"/>
                  <a:gd name="T58" fmla="*/ 2147483647 w 499"/>
                  <a:gd name="T59" fmla="*/ 2147483647 h 500"/>
                  <a:gd name="T60" fmla="*/ 2147483647 w 499"/>
                  <a:gd name="T61" fmla="*/ 2147483647 h 500"/>
                  <a:gd name="T62" fmla="*/ 2147483647 w 499"/>
                  <a:gd name="T63" fmla="*/ 2147483647 h 500"/>
                  <a:gd name="T64" fmla="*/ 2147483647 w 499"/>
                  <a:gd name="T65" fmla="*/ 2147483647 h 500"/>
                  <a:gd name="T66" fmla="*/ 2147483647 w 499"/>
                  <a:gd name="T67" fmla="*/ 2147483647 h 500"/>
                  <a:gd name="T68" fmla="*/ 2147483647 w 499"/>
                  <a:gd name="T69" fmla="*/ 2147483647 h 500"/>
                  <a:gd name="T70" fmla="*/ 2147483647 w 499"/>
                  <a:gd name="T71" fmla="*/ 2147483647 h 500"/>
                  <a:gd name="T72" fmla="*/ 2147483647 w 499"/>
                  <a:gd name="T73" fmla="*/ 2147483647 h 500"/>
                  <a:gd name="T74" fmla="*/ 2147483647 w 499"/>
                  <a:gd name="T75" fmla="*/ 0 h 5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99"/>
                  <a:gd name="T115" fmla="*/ 0 h 500"/>
                  <a:gd name="T116" fmla="*/ 499 w 499"/>
                  <a:gd name="T117" fmla="*/ 500 h 5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99" h="500">
                    <a:moveTo>
                      <a:pt x="499" y="0"/>
                    </a:moveTo>
                    <a:cubicBezTo>
                      <a:pt x="13" y="0"/>
                      <a:pt x="13" y="0"/>
                      <a:pt x="13" y="0"/>
                    </a:cubicBezTo>
                    <a:cubicBezTo>
                      <a:pt x="13" y="2"/>
                      <a:pt x="13" y="3"/>
                      <a:pt x="13" y="5"/>
                    </a:cubicBezTo>
                    <a:cubicBezTo>
                      <a:pt x="11" y="13"/>
                      <a:pt x="10" y="22"/>
                      <a:pt x="9" y="30"/>
                    </a:cubicBezTo>
                    <a:cubicBezTo>
                      <a:pt x="6" y="49"/>
                      <a:pt x="4" y="68"/>
                      <a:pt x="2" y="86"/>
                    </a:cubicBezTo>
                    <a:cubicBezTo>
                      <a:pt x="2" y="90"/>
                      <a:pt x="2" y="93"/>
                      <a:pt x="1" y="97"/>
                    </a:cubicBezTo>
                    <a:cubicBezTo>
                      <a:pt x="1" y="109"/>
                      <a:pt x="0" y="121"/>
                      <a:pt x="0" y="134"/>
                    </a:cubicBezTo>
                    <a:cubicBezTo>
                      <a:pt x="0" y="135"/>
                      <a:pt x="0" y="136"/>
                      <a:pt x="0" y="137"/>
                    </a:cubicBezTo>
                    <a:cubicBezTo>
                      <a:pt x="0" y="153"/>
                      <a:pt x="7" y="162"/>
                      <a:pt x="20" y="170"/>
                    </a:cubicBezTo>
                    <a:cubicBezTo>
                      <a:pt x="32" y="177"/>
                      <a:pt x="47" y="179"/>
                      <a:pt x="60" y="179"/>
                    </a:cubicBezTo>
                    <a:cubicBezTo>
                      <a:pt x="79" y="178"/>
                      <a:pt x="90" y="170"/>
                      <a:pt x="105" y="160"/>
                    </a:cubicBezTo>
                    <a:cubicBezTo>
                      <a:pt x="148" y="131"/>
                      <a:pt x="205" y="178"/>
                      <a:pt x="198" y="226"/>
                    </a:cubicBezTo>
                    <a:cubicBezTo>
                      <a:pt x="195" y="249"/>
                      <a:pt x="177" y="264"/>
                      <a:pt x="155" y="271"/>
                    </a:cubicBezTo>
                    <a:cubicBezTo>
                      <a:pt x="145" y="274"/>
                      <a:pt x="135" y="276"/>
                      <a:pt x="124" y="272"/>
                    </a:cubicBezTo>
                    <a:cubicBezTo>
                      <a:pt x="111" y="269"/>
                      <a:pt x="104" y="261"/>
                      <a:pt x="95" y="252"/>
                    </a:cubicBezTo>
                    <a:cubicBezTo>
                      <a:pt x="76" y="234"/>
                      <a:pt x="49" y="240"/>
                      <a:pt x="30" y="255"/>
                    </a:cubicBezTo>
                    <a:cubicBezTo>
                      <a:pt x="19" y="263"/>
                      <a:pt x="12" y="273"/>
                      <a:pt x="8" y="285"/>
                    </a:cubicBezTo>
                    <a:cubicBezTo>
                      <a:pt x="5" y="293"/>
                      <a:pt x="4" y="302"/>
                      <a:pt x="5" y="312"/>
                    </a:cubicBezTo>
                    <a:cubicBezTo>
                      <a:pt x="5" y="313"/>
                      <a:pt x="5" y="313"/>
                      <a:pt x="5" y="314"/>
                    </a:cubicBezTo>
                    <a:cubicBezTo>
                      <a:pt x="6" y="343"/>
                      <a:pt x="14" y="372"/>
                      <a:pt x="19" y="401"/>
                    </a:cubicBezTo>
                    <a:cubicBezTo>
                      <a:pt x="21" y="415"/>
                      <a:pt x="22" y="430"/>
                      <a:pt x="22" y="445"/>
                    </a:cubicBezTo>
                    <a:cubicBezTo>
                      <a:pt x="22" y="449"/>
                      <a:pt x="22" y="453"/>
                      <a:pt x="22" y="457"/>
                    </a:cubicBezTo>
                    <a:cubicBezTo>
                      <a:pt x="21" y="461"/>
                      <a:pt x="21" y="466"/>
                      <a:pt x="19" y="470"/>
                    </a:cubicBezTo>
                    <a:cubicBezTo>
                      <a:pt x="18" y="473"/>
                      <a:pt x="16" y="476"/>
                      <a:pt x="15" y="478"/>
                    </a:cubicBezTo>
                    <a:cubicBezTo>
                      <a:pt x="62" y="470"/>
                      <a:pt x="116" y="454"/>
                      <a:pt x="163" y="471"/>
                    </a:cubicBezTo>
                    <a:cubicBezTo>
                      <a:pt x="184" y="479"/>
                      <a:pt x="215" y="487"/>
                      <a:pt x="229" y="463"/>
                    </a:cubicBezTo>
                    <a:cubicBezTo>
                      <a:pt x="237" y="449"/>
                      <a:pt x="231" y="435"/>
                      <a:pt x="222" y="423"/>
                    </a:cubicBezTo>
                    <a:cubicBezTo>
                      <a:pt x="215" y="412"/>
                      <a:pt x="207" y="402"/>
                      <a:pt x="203" y="392"/>
                    </a:cubicBezTo>
                    <a:cubicBezTo>
                      <a:pt x="202" y="390"/>
                      <a:pt x="201" y="387"/>
                      <a:pt x="200" y="384"/>
                    </a:cubicBezTo>
                    <a:cubicBezTo>
                      <a:pt x="194" y="361"/>
                      <a:pt x="196" y="334"/>
                      <a:pt x="213" y="316"/>
                    </a:cubicBezTo>
                    <a:cubicBezTo>
                      <a:pt x="232" y="296"/>
                      <a:pt x="264" y="295"/>
                      <a:pt x="289" y="302"/>
                    </a:cubicBezTo>
                    <a:cubicBezTo>
                      <a:pt x="315" y="309"/>
                      <a:pt x="335" y="328"/>
                      <a:pt x="337" y="357"/>
                    </a:cubicBezTo>
                    <a:cubicBezTo>
                      <a:pt x="338" y="370"/>
                      <a:pt x="334" y="386"/>
                      <a:pt x="327" y="397"/>
                    </a:cubicBezTo>
                    <a:cubicBezTo>
                      <a:pt x="320" y="411"/>
                      <a:pt x="307" y="421"/>
                      <a:pt x="299" y="434"/>
                    </a:cubicBezTo>
                    <a:cubicBezTo>
                      <a:pt x="268" y="488"/>
                      <a:pt x="416" y="500"/>
                      <a:pt x="445" y="499"/>
                    </a:cubicBezTo>
                    <a:cubicBezTo>
                      <a:pt x="460" y="497"/>
                      <a:pt x="475" y="494"/>
                      <a:pt x="490" y="489"/>
                    </a:cubicBezTo>
                    <a:cubicBezTo>
                      <a:pt x="493" y="488"/>
                      <a:pt x="496" y="487"/>
                      <a:pt x="499" y="485"/>
                    </a:cubicBezTo>
                    <a:lnTo>
                      <a:pt x="499" y="0"/>
                    </a:lnTo>
                    <a:close/>
                  </a:path>
                </a:pathLst>
              </a:custGeom>
              <a:solidFill>
                <a:srgbClr val="008BBC"/>
              </a:solidFill>
              <a:ln w="9525" cap="flat" cmpd="sng" algn="ctr">
                <a:solidFill>
                  <a:srgbClr val="008BBC"/>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0" cap="none" spc="0" normalizeH="0" baseline="0" noProof="0" dirty="0">
                  <a:ln>
                    <a:noFill/>
                  </a:ln>
                  <a:solidFill>
                    <a:srgbClr val="FFFFFF"/>
                  </a:solidFill>
                  <a:effectLst/>
                  <a:uLnTx/>
                  <a:uFillTx/>
                  <a:latin typeface="Calibri"/>
                  <a:ea typeface="+mn-ea"/>
                  <a:cs typeface="Arial" pitchFamily="34" charset="0"/>
                </a:endParaRPr>
              </a:p>
            </p:txBody>
          </p:sp>
          <p:sp>
            <p:nvSpPr>
              <p:cNvPr id="9" name="clipart_4puzzlepieces"/>
              <p:cNvSpPr>
                <a:spLocks/>
              </p:cNvSpPr>
              <p:nvPr/>
            </p:nvSpPr>
            <p:spPr bwMode="gray">
              <a:xfrm>
                <a:off x="7083571" y="3139793"/>
                <a:ext cx="2396081" cy="2386012"/>
              </a:xfrm>
              <a:custGeom>
                <a:avLst/>
                <a:gdLst>
                  <a:gd name="T0" fmla="*/ 2147483647 w 659"/>
                  <a:gd name="T1" fmla="*/ 2147483647 h 636"/>
                  <a:gd name="T2" fmla="*/ 2147483647 w 659"/>
                  <a:gd name="T3" fmla="*/ 2147483647 h 636"/>
                  <a:gd name="T4" fmla="*/ 2147483647 w 659"/>
                  <a:gd name="T5" fmla="*/ 2147483647 h 636"/>
                  <a:gd name="T6" fmla="*/ 2147483647 w 659"/>
                  <a:gd name="T7" fmla="*/ 2147483647 h 636"/>
                  <a:gd name="T8" fmla="*/ 2147483647 w 659"/>
                  <a:gd name="T9" fmla="*/ 2147483647 h 636"/>
                  <a:gd name="T10" fmla="*/ 2147483647 w 659"/>
                  <a:gd name="T11" fmla="*/ 2147483647 h 636"/>
                  <a:gd name="T12" fmla="*/ 2147483647 w 659"/>
                  <a:gd name="T13" fmla="*/ 2147483647 h 636"/>
                  <a:gd name="T14" fmla="*/ 2147483647 w 659"/>
                  <a:gd name="T15" fmla="*/ 2147483647 h 636"/>
                  <a:gd name="T16" fmla="*/ 2147483647 w 659"/>
                  <a:gd name="T17" fmla="*/ 2147483647 h 636"/>
                  <a:gd name="T18" fmla="*/ 2147483647 w 659"/>
                  <a:gd name="T19" fmla="*/ 2147483647 h 636"/>
                  <a:gd name="T20" fmla="*/ 2147483647 w 659"/>
                  <a:gd name="T21" fmla="*/ 2147483647 h 636"/>
                  <a:gd name="T22" fmla="*/ 2147483647 w 659"/>
                  <a:gd name="T23" fmla="*/ 2147483647 h 636"/>
                  <a:gd name="T24" fmla="*/ 2147483647 w 659"/>
                  <a:gd name="T25" fmla="*/ 2147483647 h 636"/>
                  <a:gd name="T26" fmla="*/ 2147483647 w 659"/>
                  <a:gd name="T27" fmla="*/ 2147483647 h 636"/>
                  <a:gd name="T28" fmla="*/ 2147483647 w 659"/>
                  <a:gd name="T29" fmla="*/ 2147483647 h 636"/>
                  <a:gd name="T30" fmla="*/ 2147483647 w 659"/>
                  <a:gd name="T31" fmla="*/ 2147483647 h 636"/>
                  <a:gd name="T32" fmla="*/ 2147483647 w 659"/>
                  <a:gd name="T33" fmla="*/ 2147483647 h 636"/>
                  <a:gd name="T34" fmla="*/ 2147483647 w 659"/>
                  <a:gd name="T35" fmla="*/ 2147483647 h 636"/>
                  <a:gd name="T36" fmla="*/ 2147483647 w 659"/>
                  <a:gd name="T37" fmla="*/ 2147483647 h 636"/>
                  <a:gd name="T38" fmla="*/ 2147483647 w 659"/>
                  <a:gd name="T39" fmla="*/ 2147483647 h 636"/>
                  <a:gd name="T40" fmla="*/ 2147483647 w 659"/>
                  <a:gd name="T41" fmla="*/ 2147483647 h 636"/>
                  <a:gd name="T42" fmla="*/ 2147483647 w 659"/>
                  <a:gd name="T43" fmla="*/ 2147483647 h 636"/>
                  <a:gd name="T44" fmla="*/ 2147483647 w 659"/>
                  <a:gd name="T45" fmla="*/ 2147483647 h 636"/>
                  <a:gd name="T46" fmla="*/ 2147483647 w 659"/>
                  <a:gd name="T47" fmla="*/ 2147483647 h 636"/>
                  <a:gd name="T48" fmla="*/ 2147483647 w 659"/>
                  <a:gd name="T49" fmla="*/ 2147483647 h 636"/>
                  <a:gd name="T50" fmla="*/ 2147483647 w 659"/>
                  <a:gd name="T51" fmla="*/ 2147483647 h 636"/>
                  <a:gd name="T52" fmla="*/ 2147483647 w 659"/>
                  <a:gd name="T53" fmla="*/ 2147483647 h 636"/>
                  <a:gd name="T54" fmla="*/ 2147483647 w 659"/>
                  <a:gd name="T55" fmla="*/ 2147483647 h 636"/>
                  <a:gd name="T56" fmla="*/ 2147483647 w 659"/>
                  <a:gd name="T57" fmla="*/ 2147483647 h 636"/>
                  <a:gd name="T58" fmla="*/ 2147483647 w 659"/>
                  <a:gd name="T59" fmla="*/ 2147483647 h 636"/>
                  <a:gd name="T60" fmla="*/ 2147483647 w 659"/>
                  <a:gd name="T61" fmla="*/ 2147483647 h 636"/>
                  <a:gd name="T62" fmla="*/ 2147483647 w 659"/>
                  <a:gd name="T63" fmla="*/ 2147483647 h 6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636"/>
                  <a:gd name="T98" fmla="*/ 659 w 659"/>
                  <a:gd name="T99" fmla="*/ 636 h 6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636">
                    <a:moveTo>
                      <a:pt x="52" y="476"/>
                    </a:moveTo>
                    <a:cubicBezTo>
                      <a:pt x="84" y="480"/>
                      <a:pt x="111" y="462"/>
                      <a:pt x="142" y="459"/>
                    </a:cubicBezTo>
                    <a:cubicBezTo>
                      <a:pt x="164" y="457"/>
                      <a:pt x="172" y="484"/>
                      <a:pt x="177" y="502"/>
                    </a:cubicBezTo>
                    <a:cubicBezTo>
                      <a:pt x="186" y="532"/>
                      <a:pt x="188" y="564"/>
                      <a:pt x="185" y="596"/>
                    </a:cubicBezTo>
                    <a:cubicBezTo>
                      <a:pt x="184" y="609"/>
                      <a:pt x="181" y="623"/>
                      <a:pt x="177" y="636"/>
                    </a:cubicBezTo>
                    <a:cubicBezTo>
                      <a:pt x="659" y="636"/>
                      <a:pt x="659" y="636"/>
                      <a:pt x="659" y="636"/>
                    </a:cubicBezTo>
                    <a:cubicBezTo>
                      <a:pt x="659" y="190"/>
                      <a:pt x="659" y="190"/>
                      <a:pt x="659" y="190"/>
                    </a:cubicBezTo>
                    <a:cubicBezTo>
                      <a:pt x="655" y="191"/>
                      <a:pt x="652" y="193"/>
                      <a:pt x="648" y="194"/>
                    </a:cubicBezTo>
                    <a:cubicBezTo>
                      <a:pt x="633" y="199"/>
                      <a:pt x="618" y="202"/>
                      <a:pt x="603" y="204"/>
                    </a:cubicBezTo>
                    <a:cubicBezTo>
                      <a:pt x="574" y="205"/>
                      <a:pt x="426" y="193"/>
                      <a:pt x="457" y="139"/>
                    </a:cubicBezTo>
                    <a:cubicBezTo>
                      <a:pt x="465" y="126"/>
                      <a:pt x="478" y="116"/>
                      <a:pt x="485" y="102"/>
                    </a:cubicBezTo>
                    <a:cubicBezTo>
                      <a:pt x="492" y="91"/>
                      <a:pt x="496" y="75"/>
                      <a:pt x="495" y="62"/>
                    </a:cubicBezTo>
                    <a:cubicBezTo>
                      <a:pt x="493" y="33"/>
                      <a:pt x="473" y="14"/>
                      <a:pt x="447" y="7"/>
                    </a:cubicBezTo>
                    <a:cubicBezTo>
                      <a:pt x="422" y="0"/>
                      <a:pt x="390" y="1"/>
                      <a:pt x="371" y="21"/>
                    </a:cubicBezTo>
                    <a:cubicBezTo>
                      <a:pt x="354" y="39"/>
                      <a:pt x="352" y="66"/>
                      <a:pt x="358" y="89"/>
                    </a:cubicBezTo>
                    <a:cubicBezTo>
                      <a:pt x="362" y="99"/>
                      <a:pt x="367" y="109"/>
                      <a:pt x="373" y="117"/>
                    </a:cubicBezTo>
                    <a:cubicBezTo>
                      <a:pt x="376" y="120"/>
                      <a:pt x="378" y="124"/>
                      <a:pt x="380" y="128"/>
                    </a:cubicBezTo>
                    <a:cubicBezTo>
                      <a:pt x="389" y="140"/>
                      <a:pt x="395" y="154"/>
                      <a:pt x="387" y="168"/>
                    </a:cubicBezTo>
                    <a:cubicBezTo>
                      <a:pt x="373" y="192"/>
                      <a:pt x="342" y="184"/>
                      <a:pt x="321" y="176"/>
                    </a:cubicBezTo>
                    <a:cubicBezTo>
                      <a:pt x="274" y="159"/>
                      <a:pt x="220" y="175"/>
                      <a:pt x="173" y="183"/>
                    </a:cubicBezTo>
                    <a:cubicBezTo>
                      <a:pt x="174" y="181"/>
                      <a:pt x="176" y="178"/>
                      <a:pt x="177" y="175"/>
                    </a:cubicBezTo>
                    <a:cubicBezTo>
                      <a:pt x="174" y="176"/>
                      <a:pt x="172" y="177"/>
                      <a:pt x="170" y="179"/>
                    </a:cubicBezTo>
                    <a:cubicBezTo>
                      <a:pt x="168" y="180"/>
                      <a:pt x="167" y="181"/>
                      <a:pt x="167" y="183"/>
                    </a:cubicBezTo>
                    <a:cubicBezTo>
                      <a:pt x="168" y="182"/>
                      <a:pt x="170" y="181"/>
                      <a:pt x="171" y="179"/>
                    </a:cubicBezTo>
                    <a:cubicBezTo>
                      <a:pt x="171" y="179"/>
                      <a:pt x="172" y="179"/>
                      <a:pt x="172" y="179"/>
                    </a:cubicBezTo>
                    <a:cubicBezTo>
                      <a:pt x="167" y="193"/>
                      <a:pt x="170" y="208"/>
                      <a:pt x="171" y="222"/>
                    </a:cubicBezTo>
                    <a:cubicBezTo>
                      <a:pt x="173" y="239"/>
                      <a:pt x="175" y="257"/>
                      <a:pt x="177" y="274"/>
                    </a:cubicBezTo>
                    <a:cubicBezTo>
                      <a:pt x="180" y="302"/>
                      <a:pt x="186" y="335"/>
                      <a:pt x="180" y="363"/>
                    </a:cubicBezTo>
                    <a:cubicBezTo>
                      <a:pt x="174" y="394"/>
                      <a:pt x="146" y="399"/>
                      <a:pt x="120" y="386"/>
                    </a:cubicBezTo>
                    <a:cubicBezTo>
                      <a:pt x="97" y="375"/>
                      <a:pt x="74" y="356"/>
                      <a:pt x="47" y="363"/>
                    </a:cubicBezTo>
                    <a:cubicBezTo>
                      <a:pt x="21" y="369"/>
                      <a:pt x="0" y="396"/>
                      <a:pt x="2" y="423"/>
                    </a:cubicBezTo>
                    <a:cubicBezTo>
                      <a:pt x="4" y="451"/>
                      <a:pt x="25" y="472"/>
                      <a:pt x="52" y="476"/>
                    </a:cubicBezTo>
                    <a:close/>
                  </a:path>
                </a:pathLst>
              </a:custGeom>
              <a:solidFill>
                <a:srgbClr val="85C440"/>
              </a:solidFill>
              <a:ln w="9525" cap="flat" cmpd="sng" algn="ctr">
                <a:solidFill>
                  <a:srgbClr val="85C440"/>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0" cap="none" spc="0" normalizeH="0" baseline="0" noProof="0" dirty="0">
                  <a:ln>
                    <a:noFill/>
                  </a:ln>
                  <a:solidFill>
                    <a:srgbClr val="FFFFFF"/>
                  </a:solidFill>
                  <a:effectLst/>
                  <a:uLnTx/>
                  <a:uFillTx/>
                  <a:latin typeface="Calibri"/>
                  <a:ea typeface="+mn-ea"/>
                  <a:cs typeface="Arial" pitchFamily="34" charset="0"/>
                </a:endParaRPr>
              </a:p>
            </p:txBody>
          </p:sp>
          <p:sp>
            <p:nvSpPr>
              <p:cNvPr id="10" name="clipart_4puzzlepieces"/>
              <p:cNvSpPr>
                <a:spLocks/>
              </p:cNvSpPr>
              <p:nvPr/>
            </p:nvSpPr>
            <p:spPr bwMode="gray">
              <a:xfrm>
                <a:off x="5978636" y="3095344"/>
                <a:ext cx="1788211" cy="2433637"/>
              </a:xfrm>
              <a:custGeom>
                <a:avLst/>
                <a:gdLst>
                  <a:gd name="T0" fmla="*/ 2147483647 w 492"/>
                  <a:gd name="T1" fmla="*/ 2147483647 h 649"/>
                  <a:gd name="T2" fmla="*/ 2147483647 w 492"/>
                  <a:gd name="T3" fmla="*/ 2147483647 h 649"/>
                  <a:gd name="T4" fmla="*/ 2147483647 w 492"/>
                  <a:gd name="T5" fmla="*/ 2147483647 h 649"/>
                  <a:gd name="T6" fmla="*/ 2147483647 w 492"/>
                  <a:gd name="T7" fmla="*/ 2147483647 h 649"/>
                  <a:gd name="T8" fmla="*/ 2147483647 w 492"/>
                  <a:gd name="T9" fmla="*/ 2147483647 h 649"/>
                  <a:gd name="T10" fmla="*/ 2147483647 w 492"/>
                  <a:gd name="T11" fmla="*/ 2147483647 h 649"/>
                  <a:gd name="T12" fmla="*/ 2147483647 w 492"/>
                  <a:gd name="T13" fmla="*/ 2147483647 h 649"/>
                  <a:gd name="T14" fmla="*/ 2147483647 w 492"/>
                  <a:gd name="T15" fmla="*/ 2147483647 h 649"/>
                  <a:gd name="T16" fmla="*/ 2147483647 w 492"/>
                  <a:gd name="T17" fmla="*/ 2147483647 h 649"/>
                  <a:gd name="T18" fmla="*/ 2147483647 w 492"/>
                  <a:gd name="T19" fmla="*/ 2147483647 h 649"/>
                  <a:gd name="T20" fmla="*/ 2147483647 w 492"/>
                  <a:gd name="T21" fmla="*/ 2147483647 h 649"/>
                  <a:gd name="T22" fmla="*/ 2147483647 w 492"/>
                  <a:gd name="T23" fmla="*/ 2147483647 h 649"/>
                  <a:gd name="T24" fmla="*/ 2147483647 w 492"/>
                  <a:gd name="T25" fmla="*/ 2147483647 h 649"/>
                  <a:gd name="T26" fmla="*/ 2147483647 w 492"/>
                  <a:gd name="T27" fmla="*/ 2147483647 h 649"/>
                  <a:gd name="T28" fmla="*/ 2147483647 w 492"/>
                  <a:gd name="T29" fmla="*/ 2147483647 h 649"/>
                  <a:gd name="T30" fmla="*/ 2147483647 w 492"/>
                  <a:gd name="T31" fmla="*/ 2147483647 h 649"/>
                  <a:gd name="T32" fmla="*/ 2147483647 w 492"/>
                  <a:gd name="T33" fmla="*/ 2147483647 h 649"/>
                  <a:gd name="T34" fmla="*/ 2147483647 w 492"/>
                  <a:gd name="T35" fmla="*/ 2147483647 h 649"/>
                  <a:gd name="T36" fmla="*/ 2147483647 w 492"/>
                  <a:gd name="T37" fmla="*/ 2147483647 h 649"/>
                  <a:gd name="T38" fmla="*/ 2147483647 w 492"/>
                  <a:gd name="T39" fmla="*/ 2147483647 h 649"/>
                  <a:gd name="T40" fmla="*/ 2147483647 w 492"/>
                  <a:gd name="T41" fmla="*/ 2147483647 h 649"/>
                  <a:gd name="T42" fmla="*/ 2147483647 w 492"/>
                  <a:gd name="T43" fmla="*/ 2147483647 h 649"/>
                  <a:gd name="T44" fmla="*/ 2147483647 w 492"/>
                  <a:gd name="T45" fmla="*/ 2147483647 h 649"/>
                  <a:gd name="T46" fmla="*/ 2147483647 w 492"/>
                  <a:gd name="T47" fmla="*/ 2147483647 h 649"/>
                  <a:gd name="T48" fmla="*/ 2147483647 w 492"/>
                  <a:gd name="T49" fmla="*/ 2147483647 h 649"/>
                  <a:gd name="T50" fmla="*/ 2147483647 w 492"/>
                  <a:gd name="T51" fmla="*/ 2147483647 h 649"/>
                  <a:gd name="T52" fmla="*/ 2147483647 w 492"/>
                  <a:gd name="T53" fmla="*/ 2147483647 h 649"/>
                  <a:gd name="T54" fmla="*/ 2147483647 w 492"/>
                  <a:gd name="T55" fmla="*/ 2147483647 h 649"/>
                  <a:gd name="T56" fmla="*/ 0 w 492"/>
                  <a:gd name="T57" fmla="*/ 2147483647 h 649"/>
                  <a:gd name="T58" fmla="*/ 0 w 492"/>
                  <a:gd name="T59" fmla="*/ 2147483647 h 649"/>
                  <a:gd name="T60" fmla="*/ 2147483647 w 492"/>
                  <a:gd name="T61" fmla="*/ 2147483647 h 649"/>
                  <a:gd name="T62" fmla="*/ 2147483647 w 492"/>
                  <a:gd name="T63" fmla="*/ 2147483647 h 649"/>
                  <a:gd name="T64" fmla="*/ 2147483647 w 492"/>
                  <a:gd name="T65" fmla="*/ 2147483647 h 64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2"/>
                  <a:gd name="T100" fmla="*/ 0 h 649"/>
                  <a:gd name="T101" fmla="*/ 492 w 492"/>
                  <a:gd name="T102" fmla="*/ 649 h 64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2" h="649">
                    <a:moveTo>
                      <a:pt x="481" y="514"/>
                    </a:moveTo>
                    <a:cubicBezTo>
                      <a:pt x="476" y="496"/>
                      <a:pt x="468" y="469"/>
                      <a:pt x="446" y="471"/>
                    </a:cubicBezTo>
                    <a:cubicBezTo>
                      <a:pt x="415" y="474"/>
                      <a:pt x="388" y="492"/>
                      <a:pt x="356" y="488"/>
                    </a:cubicBezTo>
                    <a:cubicBezTo>
                      <a:pt x="329" y="484"/>
                      <a:pt x="308" y="463"/>
                      <a:pt x="306" y="435"/>
                    </a:cubicBezTo>
                    <a:cubicBezTo>
                      <a:pt x="304" y="408"/>
                      <a:pt x="325" y="381"/>
                      <a:pt x="351" y="375"/>
                    </a:cubicBezTo>
                    <a:cubicBezTo>
                      <a:pt x="378" y="368"/>
                      <a:pt x="401" y="387"/>
                      <a:pt x="424" y="398"/>
                    </a:cubicBezTo>
                    <a:cubicBezTo>
                      <a:pt x="450" y="411"/>
                      <a:pt x="478" y="406"/>
                      <a:pt x="484" y="375"/>
                    </a:cubicBezTo>
                    <a:cubicBezTo>
                      <a:pt x="490" y="347"/>
                      <a:pt x="484" y="314"/>
                      <a:pt x="481" y="286"/>
                    </a:cubicBezTo>
                    <a:cubicBezTo>
                      <a:pt x="479" y="269"/>
                      <a:pt x="477" y="251"/>
                      <a:pt x="475" y="234"/>
                    </a:cubicBezTo>
                    <a:cubicBezTo>
                      <a:pt x="474" y="220"/>
                      <a:pt x="471" y="205"/>
                      <a:pt x="476" y="191"/>
                    </a:cubicBezTo>
                    <a:cubicBezTo>
                      <a:pt x="476" y="191"/>
                      <a:pt x="475" y="191"/>
                      <a:pt x="475" y="191"/>
                    </a:cubicBezTo>
                    <a:cubicBezTo>
                      <a:pt x="474" y="193"/>
                      <a:pt x="472" y="194"/>
                      <a:pt x="471" y="195"/>
                    </a:cubicBezTo>
                    <a:cubicBezTo>
                      <a:pt x="463" y="200"/>
                      <a:pt x="453" y="203"/>
                      <a:pt x="445" y="205"/>
                    </a:cubicBezTo>
                    <a:cubicBezTo>
                      <a:pt x="445" y="205"/>
                      <a:pt x="445" y="205"/>
                      <a:pt x="445" y="205"/>
                    </a:cubicBezTo>
                    <a:cubicBezTo>
                      <a:pt x="445" y="205"/>
                      <a:pt x="445" y="205"/>
                      <a:pt x="445" y="205"/>
                    </a:cubicBezTo>
                    <a:cubicBezTo>
                      <a:pt x="444" y="205"/>
                      <a:pt x="444" y="205"/>
                      <a:pt x="444" y="205"/>
                    </a:cubicBezTo>
                    <a:cubicBezTo>
                      <a:pt x="429" y="209"/>
                      <a:pt x="414" y="211"/>
                      <a:pt x="399" y="213"/>
                    </a:cubicBezTo>
                    <a:cubicBezTo>
                      <a:pt x="367" y="215"/>
                      <a:pt x="334" y="212"/>
                      <a:pt x="303" y="203"/>
                    </a:cubicBezTo>
                    <a:cubicBezTo>
                      <a:pt x="285" y="197"/>
                      <a:pt x="254" y="183"/>
                      <a:pt x="262" y="159"/>
                    </a:cubicBezTo>
                    <a:cubicBezTo>
                      <a:pt x="270" y="131"/>
                      <a:pt x="302" y="119"/>
                      <a:pt x="308" y="91"/>
                    </a:cubicBezTo>
                    <a:cubicBezTo>
                      <a:pt x="313" y="67"/>
                      <a:pt x="306" y="43"/>
                      <a:pt x="289" y="25"/>
                    </a:cubicBezTo>
                    <a:cubicBezTo>
                      <a:pt x="272" y="7"/>
                      <a:pt x="246" y="0"/>
                      <a:pt x="221" y="5"/>
                    </a:cubicBezTo>
                    <a:cubicBezTo>
                      <a:pt x="193" y="12"/>
                      <a:pt x="171" y="33"/>
                      <a:pt x="161" y="61"/>
                    </a:cubicBezTo>
                    <a:cubicBezTo>
                      <a:pt x="150" y="93"/>
                      <a:pt x="174" y="111"/>
                      <a:pt x="190" y="135"/>
                    </a:cubicBezTo>
                    <a:cubicBezTo>
                      <a:pt x="197" y="146"/>
                      <a:pt x="204" y="163"/>
                      <a:pt x="199" y="176"/>
                    </a:cubicBezTo>
                    <a:cubicBezTo>
                      <a:pt x="195" y="188"/>
                      <a:pt x="181" y="191"/>
                      <a:pt x="169" y="191"/>
                    </a:cubicBezTo>
                    <a:cubicBezTo>
                      <a:pt x="130" y="192"/>
                      <a:pt x="90" y="196"/>
                      <a:pt x="51" y="198"/>
                    </a:cubicBezTo>
                    <a:cubicBezTo>
                      <a:pt x="34" y="198"/>
                      <a:pt x="18" y="199"/>
                      <a:pt x="1" y="197"/>
                    </a:cubicBezTo>
                    <a:cubicBezTo>
                      <a:pt x="1" y="197"/>
                      <a:pt x="1" y="197"/>
                      <a:pt x="0" y="197"/>
                    </a:cubicBezTo>
                    <a:cubicBezTo>
                      <a:pt x="0" y="649"/>
                      <a:pt x="0" y="649"/>
                      <a:pt x="0" y="649"/>
                    </a:cubicBezTo>
                    <a:cubicBezTo>
                      <a:pt x="480" y="649"/>
                      <a:pt x="480" y="649"/>
                      <a:pt x="480" y="649"/>
                    </a:cubicBezTo>
                    <a:cubicBezTo>
                      <a:pt x="485" y="636"/>
                      <a:pt x="488" y="622"/>
                      <a:pt x="489" y="608"/>
                    </a:cubicBezTo>
                    <a:cubicBezTo>
                      <a:pt x="492" y="576"/>
                      <a:pt x="490" y="544"/>
                      <a:pt x="481" y="514"/>
                    </a:cubicBezTo>
                    <a:close/>
                  </a:path>
                </a:pathLst>
              </a:custGeom>
              <a:solidFill>
                <a:srgbClr val="E62270"/>
              </a:solidFill>
              <a:ln w="9525" cap="flat" cmpd="sng" algn="ctr">
                <a:solidFill>
                  <a:srgbClr val="E62270"/>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0" cap="none" spc="0" normalizeH="0" baseline="0" noProof="0" dirty="0">
                  <a:ln>
                    <a:noFill/>
                  </a:ln>
                  <a:solidFill>
                    <a:srgbClr val="FFFFFF"/>
                  </a:solidFill>
                  <a:effectLst/>
                  <a:uLnTx/>
                  <a:uFillTx/>
                  <a:latin typeface="Calibri"/>
                  <a:ea typeface="+mn-ea"/>
                  <a:cs typeface="Arial" pitchFamily="34" charset="0"/>
                </a:endParaRPr>
              </a:p>
            </p:txBody>
          </p:sp>
          <p:sp>
            <p:nvSpPr>
              <p:cNvPr id="11" name="clipart_4puzzlepieces"/>
              <p:cNvSpPr>
                <a:spLocks/>
              </p:cNvSpPr>
              <p:nvPr/>
            </p:nvSpPr>
            <p:spPr bwMode="gray">
              <a:xfrm>
                <a:off x="5972480" y="2046005"/>
                <a:ext cx="2434553" cy="1855788"/>
              </a:xfrm>
              <a:custGeom>
                <a:avLst/>
                <a:gdLst>
                  <a:gd name="T0" fmla="*/ 2147483647 w 670"/>
                  <a:gd name="T1" fmla="*/ 2147483647 h 495"/>
                  <a:gd name="T2" fmla="*/ 2147483647 w 670"/>
                  <a:gd name="T3" fmla="*/ 2147483647 h 495"/>
                  <a:gd name="T4" fmla="*/ 2147483647 w 670"/>
                  <a:gd name="T5" fmla="*/ 2147483647 h 495"/>
                  <a:gd name="T6" fmla="*/ 2147483647 w 670"/>
                  <a:gd name="T7" fmla="*/ 2147483647 h 495"/>
                  <a:gd name="T8" fmla="*/ 2147483647 w 670"/>
                  <a:gd name="T9" fmla="*/ 2147483647 h 495"/>
                  <a:gd name="T10" fmla="*/ 2147483647 w 670"/>
                  <a:gd name="T11" fmla="*/ 2147483647 h 495"/>
                  <a:gd name="T12" fmla="*/ 2147483647 w 670"/>
                  <a:gd name="T13" fmla="*/ 2147483647 h 495"/>
                  <a:gd name="T14" fmla="*/ 2147483647 w 670"/>
                  <a:gd name="T15" fmla="*/ 2147483647 h 495"/>
                  <a:gd name="T16" fmla="*/ 2147483647 w 670"/>
                  <a:gd name="T17" fmla="*/ 2147483647 h 495"/>
                  <a:gd name="T18" fmla="*/ 2147483647 w 670"/>
                  <a:gd name="T19" fmla="*/ 2147483647 h 495"/>
                  <a:gd name="T20" fmla="*/ 2147483647 w 670"/>
                  <a:gd name="T21" fmla="*/ 0 h 495"/>
                  <a:gd name="T22" fmla="*/ 0 w 670"/>
                  <a:gd name="T23" fmla="*/ 0 h 495"/>
                  <a:gd name="T24" fmla="*/ 0 w 670"/>
                  <a:gd name="T25" fmla="*/ 2147483647 h 495"/>
                  <a:gd name="T26" fmla="*/ 2147483647 w 670"/>
                  <a:gd name="T27" fmla="*/ 2147483647 h 495"/>
                  <a:gd name="T28" fmla="*/ 2147483647 w 670"/>
                  <a:gd name="T29" fmla="*/ 2147483647 h 495"/>
                  <a:gd name="T30" fmla="*/ 2147483647 w 670"/>
                  <a:gd name="T31" fmla="*/ 2147483647 h 495"/>
                  <a:gd name="T32" fmla="*/ 2147483647 w 670"/>
                  <a:gd name="T33" fmla="*/ 2147483647 h 495"/>
                  <a:gd name="T34" fmla="*/ 2147483647 w 670"/>
                  <a:gd name="T35" fmla="*/ 2147483647 h 495"/>
                  <a:gd name="T36" fmla="*/ 2147483647 w 670"/>
                  <a:gd name="T37" fmla="*/ 2147483647 h 495"/>
                  <a:gd name="T38" fmla="*/ 2147483647 w 670"/>
                  <a:gd name="T39" fmla="*/ 2147483647 h 495"/>
                  <a:gd name="T40" fmla="*/ 2147483647 w 670"/>
                  <a:gd name="T41" fmla="*/ 2147483647 h 495"/>
                  <a:gd name="T42" fmla="*/ 2147483647 w 670"/>
                  <a:gd name="T43" fmla="*/ 2147483647 h 495"/>
                  <a:gd name="T44" fmla="*/ 2147483647 w 670"/>
                  <a:gd name="T45" fmla="*/ 2147483647 h 495"/>
                  <a:gd name="T46" fmla="*/ 2147483647 w 670"/>
                  <a:gd name="T47" fmla="*/ 2147483647 h 495"/>
                  <a:gd name="T48" fmla="*/ 2147483647 w 670"/>
                  <a:gd name="T49" fmla="*/ 2147483647 h 495"/>
                  <a:gd name="T50" fmla="*/ 2147483647 w 670"/>
                  <a:gd name="T51" fmla="*/ 2147483647 h 495"/>
                  <a:gd name="T52" fmla="*/ 2147483647 w 670"/>
                  <a:gd name="T53" fmla="*/ 2147483647 h 495"/>
                  <a:gd name="T54" fmla="*/ 2147483647 w 670"/>
                  <a:gd name="T55" fmla="*/ 2147483647 h 495"/>
                  <a:gd name="T56" fmla="*/ 2147483647 w 670"/>
                  <a:gd name="T57" fmla="*/ 2147483647 h 495"/>
                  <a:gd name="T58" fmla="*/ 2147483647 w 670"/>
                  <a:gd name="T59" fmla="*/ 2147483647 h 495"/>
                  <a:gd name="T60" fmla="*/ 2147483647 w 670"/>
                  <a:gd name="T61" fmla="*/ 2147483647 h 495"/>
                  <a:gd name="T62" fmla="*/ 2147483647 w 670"/>
                  <a:gd name="T63" fmla="*/ 2147483647 h 495"/>
                  <a:gd name="T64" fmla="*/ 2147483647 w 670"/>
                  <a:gd name="T65" fmla="*/ 2147483647 h 495"/>
                  <a:gd name="T66" fmla="*/ 2147483647 w 670"/>
                  <a:gd name="T67" fmla="*/ 2147483647 h 495"/>
                  <a:gd name="T68" fmla="*/ 2147483647 w 670"/>
                  <a:gd name="T69" fmla="*/ 2147483647 h 495"/>
                  <a:gd name="T70" fmla="*/ 2147483647 w 670"/>
                  <a:gd name="T71" fmla="*/ 2147483647 h 495"/>
                  <a:gd name="T72" fmla="*/ 2147483647 w 670"/>
                  <a:gd name="T73" fmla="*/ 2147483647 h 495"/>
                  <a:gd name="T74" fmla="*/ 2147483647 w 670"/>
                  <a:gd name="T75" fmla="*/ 2147483647 h 495"/>
                  <a:gd name="T76" fmla="*/ 2147483647 w 670"/>
                  <a:gd name="T77" fmla="*/ 2147483647 h 495"/>
                  <a:gd name="T78" fmla="*/ 2147483647 w 670"/>
                  <a:gd name="T79" fmla="*/ 2147483647 h 495"/>
                  <a:gd name="T80" fmla="*/ 2147483647 w 670"/>
                  <a:gd name="T81" fmla="*/ 2147483647 h 495"/>
                  <a:gd name="T82" fmla="*/ 2147483647 w 670"/>
                  <a:gd name="T83" fmla="*/ 2147483647 h 495"/>
                  <a:gd name="T84" fmla="*/ 2147483647 w 670"/>
                  <a:gd name="T85" fmla="*/ 2147483647 h 4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70"/>
                  <a:gd name="T130" fmla="*/ 0 h 495"/>
                  <a:gd name="T131" fmla="*/ 670 w 670"/>
                  <a:gd name="T132" fmla="*/ 495 h 49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70" h="495">
                    <a:moveTo>
                      <a:pt x="570" y="157"/>
                    </a:moveTo>
                    <a:cubicBezTo>
                      <a:pt x="555" y="167"/>
                      <a:pt x="544" y="175"/>
                      <a:pt x="525" y="176"/>
                    </a:cubicBezTo>
                    <a:cubicBezTo>
                      <a:pt x="512" y="176"/>
                      <a:pt x="497" y="174"/>
                      <a:pt x="485" y="167"/>
                    </a:cubicBezTo>
                    <a:cubicBezTo>
                      <a:pt x="472" y="159"/>
                      <a:pt x="465" y="150"/>
                      <a:pt x="465" y="134"/>
                    </a:cubicBezTo>
                    <a:cubicBezTo>
                      <a:pt x="465" y="133"/>
                      <a:pt x="465" y="132"/>
                      <a:pt x="465" y="131"/>
                    </a:cubicBezTo>
                    <a:cubicBezTo>
                      <a:pt x="465" y="131"/>
                      <a:pt x="465" y="131"/>
                      <a:pt x="465" y="131"/>
                    </a:cubicBezTo>
                    <a:cubicBezTo>
                      <a:pt x="464" y="119"/>
                      <a:pt x="465" y="106"/>
                      <a:pt x="466" y="94"/>
                    </a:cubicBezTo>
                    <a:cubicBezTo>
                      <a:pt x="467" y="90"/>
                      <a:pt x="467" y="87"/>
                      <a:pt x="467" y="83"/>
                    </a:cubicBezTo>
                    <a:cubicBezTo>
                      <a:pt x="469" y="65"/>
                      <a:pt x="471" y="46"/>
                      <a:pt x="474" y="27"/>
                    </a:cubicBezTo>
                    <a:cubicBezTo>
                      <a:pt x="475" y="19"/>
                      <a:pt x="476" y="10"/>
                      <a:pt x="478" y="2"/>
                    </a:cubicBezTo>
                    <a:cubicBezTo>
                      <a:pt x="478" y="1"/>
                      <a:pt x="478" y="1"/>
                      <a:pt x="478" y="0"/>
                    </a:cubicBezTo>
                    <a:cubicBezTo>
                      <a:pt x="0" y="0"/>
                      <a:pt x="0" y="0"/>
                      <a:pt x="0" y="0"/>
                    </a:cubicBezTo>
                    <a:cubicBezTo>
                      <a:pt x="0" y="476"/>
                      <a:pt x="0" y="476"/>
                      <a:pt x="0" y="476"/>
                    </a:cubicBezTo>
                    <a:cubicBezTo>
                      <a:pt x="2" y="477"/>
                      <a:pt x="3" y="477"/>
                      <a:pt x="4" y="477"/>
                    </a:cubicBezTo>
                    <a:cubicBezTo>
                      <a:pt x="21" y="479"/>
                      <a:pt x="37" y="478"/>
                      <a:pt x="54" y="478"/>
                    </a:cubicBezTo>
                    <a:cubicBezTo>
                      <a:pt x="93" y="476"/>
                      <a:pt x="133" y="472"/>
                      <a:pt x="172" y="471"/>
                    </a:cubicBezTo>
                    <a:cubicBezTo>
                      <a:pt x="184" y="471"/>
                      <a:pt x="198" y="468"/>
                      <a:pt x="202" y="456"/>
                    </a:cubicBezTo>
                    <a:cubicBezTo>
                      <a:pt x="207" y="443"/>
                      <a:pt x="200" y="426"/>
                      <a:pt x="193" y="415"/>
                    </a:cubicBezTo>
                    <a:cubicBezTo>
                      <a:pt x="177" y="391"/>
                      <a:pt x="153" y="373"/>
                      <a:pt x="164" y="341"/>
                    </a:cubicBezTo>
                    <a:cubicBezTo>
                      <a:pt x="174" y="313"/>
                      <a:pt x="196" y="292"/>
                      <a:pt x="224" y="285"/>
                    </a:cubicBezTo>
                    <a:cubicBezTo>
                      <a:pt x="249" y="280"/>
                      <a:pt x="275" y="287"/>
                      <a:pt x="292" y="305"/>
                    </a:cubicBezTo>
                    <a:cubicBezTo>
                      <a:pt x="309" y="323"/>
                      <a:pt x="316" y="347"/>
                      <a:pt x="311" y="371"/>
                    </a:cubicBezTo>
                    <a:cubicBezTo>
                      <a:pt x="305" y="399"/>
                      <a:pt x="273" y="411"/>
                      <a:pt x="265" y="439"/>
                    </a:cubicBezTo>
                    <a:cubicBezTo>
                      <a:pt x="257" y="463"/>
                      <a:pt x="288" y="477"/>
                      <a:pt x="306" y="483"/>
                    </a:cubicBezTo>
                    <a:cubicBezTo>
                      <a:pt x="337" y="492"/>
                      <a:pt x="370" y="495"/>
                      <a:pt x="402" y="493"/>
                    </a:cubicBezTo>
                    <a:cubicBezTo>
                      <a:pt x="417" y="491"/>
                      <a:pt x="432" y="489"/>
                      <a:pt x="447" y="485"/>
                    </a:cubicBezTo>
                    <a:cubicBezTo>
                      <a:pt x="447" y="485"/>
                      <a:pt x="447" y="485"/>
                      <a:pt x="448" y="485"/>
                    </a:cubicBezTo>
                    <a:cubicBezTo>
                      <a:pt x="448" y="485"/>
                      <a:pt x="448" y="485"/>
                      <a:pt x="448" y="485"/>
                    </a:cubicBezTo>
                    <a:cubicBezTo>
                      <a:pt x="458" y="482"/>
                      <a:pt x="471" y="479"/>
                      <a:pt x="478" y="471"/>
                    </a:cubicBezTo>
                    <a:cubicBezTo>
                      <a:pt x="481" y="469"/>
                      <a:pt x="483" y="466"/>
                      <a:pt x="484" y="463"/>
                    </a:cubicBezTo>
                    <a:cubicBezTo>
                      <a:pt x="485" y="460"/>
                      <a:pt x="486" y="457"/>
                      <a:pt x="487" y="454"/>
                    </a:cubicBezTo>
                    <a:cubicBezTo>
                      <a:pt x="487" y="450"/>
                      <a:pt x="487" y="446"/>
                      <a:pt x="487" y="442"/>
                    </a:cubicBezTo>
                    <a:cubicBezTo>
                      <a:pt x="487" y="427"/>
                      <a:pt x="486" y="412"/>
                      <a:pt x="484" y="398"/>
                    </a:cubicBezTo>
                    <a:cubicBezTo>
                      <a:pt x="479" y="369"/>
                      <a:pt x="471" y="340"/>
                      <a:pt x="470" y="311"/>
                    </a:cubicBezTo>
                    <a:cubicBezTo>
                      <a:pt x="470" y="310"/>
                      <a:pt x="470" y="310"/>
                      <a:pt x="470" y="309"/>
                    </a:cubicBezTo>
                    <a:cubicBezTo>
                      <a:pt x="469" y="300"/>
                      <a:pt x="469" y="291"/>
                      <a:pt x="472" y="282"/>
                    </a:cubicBezTo>
                    <a:cubicBezTo>
                      <a:pt x="473" y="282"/>
                      <a:pt x="473" y="282"/>
                      <a:pt x="473" y="282"/>
                    </a:cubicBezTo>
                    <a:cubicBezTo>
                      <a:pt x="477" y="270"/>
                      <a:pt x="484" y="260"/>
                      <a:pt x="495" y="252"/>
                    </a:cubicBezTo>
                    <a:cubicBezTo>
                      <a:pt x="514" y="237"/>
                      <a:pt x="541" y="231"/>
                      <a:pt x="560" y="249"/>
                    </a:cubicBezTo>
                    <a:cubicBezTo>
                      <a:pt x="569" y="258"/>
                      <a:pt x="576" y="266"/>
                      <a:pt x="589" y="269"/>
                    </a:cubicBezTo>
                    <a:cubicBezTo>
                      <a:pt x="600" y="273"/>
                      <a:pt x="610" y="271"/>
                      <a:pt x="620" y="268"/>
                    </a:cubicBezTo>
                    <a:cubicBezTo>
                      <a:pt x="642" y="261"/>
                      <a:pt x="660" y="246"/>
                      <a:pt x="663" y="223"/>
                    </a:cubicBezTo>
                    <a:cubicBezTo>
                      <a:pt x="670" y="175"/>
                      <a:pt x="613" y="128"/>
                      <a:pt x="570" y="157"/>
                    </a:cubicBezTo>
                    <a:close/>
                  </a:path>
                </a:pathLst>
              </a:custGeom>
              <a:solidFill>
                <a:srgbClr val="FFDD00"/>
              </a:solidFill>
              <a:ln w="9525" cap="flat" cmpd="sng" algn="ctr">
                <a:solidFill>
                  <a:srgbClr val="FFDD00"/>
                </a:solidFill>
                <a:prstDash val="solid"/>
              </a:ln>
              <a:effectLst/>
            </p:spPr>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0" cap="none" spc="0" normalizeH="0" baseline="0" noProof="0" dirty="0">
                  <a:ln>
                    <a:noFill/>
                  </a:ln>
                  <a:solidFill>
                    <a:srgbClr val="FFFFFF"/>
                  </a:solidFill>
                  <a:effectLst/>
                  <a:uLnTx/>
                  <a:uFillTx/>
                  <a:latin typeface="Calibri"/>
                  <a:ea typeface="+mn-ea"/>
                  <a:cs typeface="Arial" pitchFamily="34" charset="0"/>
                </a:endParaRPr>
              </a:p>
            </p:txBody>
          </p:sp>
          <p:sp>
            <p:nvSpPr>
              <p:cNvPr id="12" name="TextBox 11"/>
              <p:cNvSpPr txBox="1"/>
              <p:nvPr/>
            </p:nvSpPr>
            <p:spPr>
              <a:xfrm>
                <a:off x="5986511" y="2093352"/>
                <a:ext cx="154693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1" u="none" strike="noStrike" kern="0" cap="none" spc="0" normalizeH="0" baseline="0" noProof="0" dirty="0">
                    <a:ln>
                      <a:noFill/>
                    </a:ln>
                    <a:solidFill>
                      <a:srgbClr val="FFFFFF"/>
                    </a:solidFill>
                    <a:effectLst/>
                    <a:uLnTx/>
                    <a:uFillTx/>
                    <a:latin typeface="Calibri"/>
                    <a:ea typeface="+mn-ea"/>
                    <a:cs typeface="Arial" pitchFamily="34" charset="0"/>
                  </a:rPr>
                  <a:t>Dimensão 1 – </a:t>
                </a:r>
                <a:r>
                  <a:rPr kumimoji="0" lang="pt-BR" sz="1600" b="1" i="0" u="none" strike="noStrike" kern="0" cap="none" spc="0" normalizeH="0" baseline="0" noProof="0" dirty="0">
                    <a:ln>
                      <a:noFill/>
                    </a:ln>
                    <a:solidFill>
                      <a:srgbClr val="FFFFFF"/>
                    </a:solidFill>
                    <a:effectLst/>
                    <a:uLnTx/>
                    <a:uFillTx/>
                    <a:latin typeface="Calibri"/>
                    <a:ea typeface="+mn-ea"/>
                    <a:cs typeface="Arial" pitchFamily="34" charset="0"/>
                  </a:rPr>
                  <a:t>VISÃ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Rectangle 12"/>
              <p:cNvSpPr/>
              <p:nvPr/>
            </p:nvSpPr>
            <p:spPr>
              <a:xfrm>
                <a:off x="7709289" y="2093352"/>
                <a:ext cx="1802679" cy="107721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0" i="1" u="none" strike="noStrike" kern="0" cap="none" spc="0" normalizeH="0" baseline="0" noProof="0" dirty="0">
                    <a:ln>
                      <a:noFill/>
                    </a:ln>
                    <a:solidFill>
                      <a:srgbClr val="FFFFFF"/>
                    </a:solidFill>
                    <a:effectLst/>
                    <a:uLnTx/>
                    <a:uFillTx/>
                    <a:latin typeface="Calibri"/>
                    <a:ea typeface="+mn-ea"/>
                    <a:cs typeface="Arial" pitchFamily="34" charset="0"/>
                  </a:rPr>
                  <a:t>Dimensão 3 – </a:t>
                </a:r>
                <a:r>
                  <a:rPr kumimoji="0" lang="pt-BR" sz="1600" b="1" i="0" u="none" strike="noStrike" kern="0" cap="none" spc="0" normalizeH="0" baseline="0" noProof="0" dirty="0">
                    <a:ln>
                      <a:noFill/>
                    </a:ln>
                    <a:solidFill>
                      <a:srgbClr val="FFFFFF"/>
                    </a:solidFill>
                    <a:effectLst/>
                    <a:uLnTx/>
                    <a:uFillTx/>
                    <a:latin typeface="Calibri"/>
                    <a:ea typeface="+mn-ea"/>
                    <a:cs typeface="Arial" pitchFamily="34" charset="0"/>
                  </a:rPr>
                  <a:t>CONTEÚDOS E RECURSO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srgbClr val="FFFFFF"/>
                    </a:solidFill>
                    <a:effectLst/>
                    <a:uLnTx/>
                    <a:uFillTx/>
                    <a:latin typeface="Calibri"/>
                    <a:ea typeface="+mn-ea"/>
                    <a:cs typeface="Arial" pitchFamily="34" charset="0"/>
                  </a:rPr>
                  <a:t>DIGITAIS</a:t>
                </a:r>
              </a:p>
            </p:txBody>
          </p:sp>
          <p:sp>
            <p:nvSpPr>
              <p:cNvPr id="14" name="Rectangle 13"/>
              <p:cNvSpPr/>
              <p:nvPr/>
            </p:nvSpPr>
            <p:spPr>
              <a:xfrm>
                <a:off x="6018137" y="4839836"/>
                <a:ext cx="1483679"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600" b="0" i="1" u="none" strike="noStrike" kern="0" cap="none" spc="0" normalizeH="0" baseline="0" noProof="0" dirty="0">
                    <a:ln>
                      <a:noFill/>
                    </a:ln>
                    <a:solidFill>
                      <a:srgbClr val="FFFFFF"/>
                    </a:solidFill>
                    <a:effectLst/>
                    <a:uLnTx/>
                    <a:uFillTx/>
                    <a:latin typeface="Calibri"/>
                    <a:ea typeface="+mn-ea"/>
                    <a:cs typeface="Arial" pitchFamily="34" charset="0"/>
                  </a:rPr>
                  <a:t>Dimensão 2 - </a:t>
                </a:r>
                <a:r>
                  <a:rPr kumimoji="0" lang="pt-BR" sz="1600" b="1" i="0" u="none" strike="noStrike" kern="0" cap="none" spc="0" normalizeH="0" baseline="0" noProof="0" dirty="0">
                    <a:ln>
                      <a:noFill/>
                    </a:ln>
                    <a:solidFill>
                      <a:srgbClr val="FFFFFF"/>
                    </a:solidFill>
                    <a:effectLst/>
                    <a:uLnTx/>
                    <a:uFillTx/>
                    <a:latin typeface="Calibri"/>
                    <a:ea typeface="+mn-ea"/>
                    <a:cs typeface="Arial" pitchFamily="34" charset="0"/>
                  </a:rPr>
                  <a:t>COMPETÊNCIA</a:t>
                </a:r>
              </a:p>
            </p:txBody>
          </p:sp>
          <p:sp>
            <p:nvSpPr>
              <p:cNvPr id="15" name="Rectangle 14"/>
              <p:cNvSpPr/>
              <p:nvPr/>
            </p:nvSpPr>
            <p:spPr>
              <a:xfrm>
                <a:off x="7363427" y="4839836"/>
                <a:ext cx="2087211" cy="5847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600" b="0" i="1" u="none" strike="noStrike" kern="0" cap="none" spc="0" normalizeH="0" baseline="0" noProof="0" dirty="0">
                    <a:ln>
                      <a:noFill/>
                    </a:ln>
                    <a:solidFill>
                      <a:srgbClr val="FFFFFF"/>
                    </a:solidFill>
                    <a:effectLst/>
                    <a:uLnTx/>
                    <a:uFillTx/>
                    <a:latin typeface="Calibri"/>
                    <a:ea typeface="+mn-ea"/>
                    <a:cs typeface="Arial" pitchFamily="34" charset="0"/>
                  </a:rPr>
                  <a:t>Dimensão 4 - </a:t>
                </a:r>
                <a:r>
                  <a:rPr kumimoji="0" lang="pt-BR" sz="1600" b="1" i="0" u="none" strike="noStrike" kern="0" cap="none" spc="0" normalizeH="0" baseline="0" noProof="0" dirty="0">
                    <a:ln>
                      <a:noFill/>
                    </a:ln>
                    <a:solidFill>
                      <a:srgbClr val="FFFFFF"/>
                    </a:solidFill>
                    <a:effectLst/>
                    <a:uLnTx/>
                    <a:uFillTx/>
                    <a:latin typeface="Calibri"/>
                    <a:ea typeface="+mn-ea"/>
                    <a:cs typeface="Arial" pitchFamily="34" charset="0"/>
                  </a:rPr>
                  <a:t>INFRAESTRUTURA</a:t>
                </a:r>
              </a:p>
            </p:txBody>
          </p:sp>
        </p:grpSp>
        <p:sp>
          <p:nvSpPr>
            <p:cNvPr id="54" name="CaixaDeTexto 18"/>
            <p:cNvSpPr txBox="1"/>
            <p:nvPr/>
          </p:nvSpPr>
          <p:spPr>
            <a:xfrm>
              <a:off x="5579351" y="5768956"/>
              <a:ext cx="2324986" cy="735756"/>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000000"/>
                  </a:solidFill>
                  <a:effectLst/>
                  <a:uLnTx/>
                  <a:uFillTx/>
                  <a:latin typeface="Calibri"/>
                  <a:ea typeface="+mn-ea"/>
                  <a:cs typeface="Arial" pitchFamily="34" charset="0"/>
                </a:rPr>
                <a:t>Elemento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000000"/>
                  </a:solidFill>
                  <a:effectLst/>
                  <a:uLnTx/>
                  <a:uFillTx/>
                  <a:latin typeface="Calibri"/>
                  <a:ea typeface="+mn-ea"/>
                  <a:cs typeface="Arial" pitchFamily="34" charset="0"/>
                </a:rPr>
                <a:t>Humanos</a:t>
              </a:r>
            </a:p>
          </p:txBody>
        </p:sp>
        <p:sp>
          <p:nvSpPr>
            <p:cNvPr id="55" name="CaixaDeTexto 22"/>
            <p:cNvSpPr txBox="1"/>
            <p:nvPr/>
          </p:nvSpPr>
          <p:spPr>
            <a:xfrm>
              <a:off x="7526688" y="5768956"/>
              <a:ext cx="2063833" cy="735756"/>
            </a:xfrm>
            <a:prstGeom prst="rect">
              <a:avLst/>
            </a:prstGeom>
            <a:solidFill>
              <a:schemeClr val="tx2">
                <a:lumMod val="95000"/>
              </a:schemeClr>
            </a:solid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000000"/>
                  </a:solidFill>
                  <a:effectLst/>
                  <a:uLnTx/>
                  <a:uFillTx/>
                  <a:latin typeface="Calibri"/>
                  <a:ea typeface="+mn-ea"/>
                  <a:cs typeface="Arial" pitchFamily="34" charset="0"/>
                </a:rPr>
                <a:t>Element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srgbClr val="000000"/>
                  </a:solidFill>
                  <a:effectLst/>
                  <a:uLnTx/>
                  <a:uFillTx/>
                  <a:latin typeface="Calibri"/>
                  <a:ea typeface="+mn-ea"/>
                  <a:cs typeface="Arial" pitchFamily="34" charset="0"/>
                </a:rPr>
                <a:t>Técnicos</a:t>
              </a:r>
            </a:p>
          </p:txBody>
        </p:sp>
        <p:sp>
          <p:nvSpPr>
            <p:cNvPr id="58" name="Chave Esquerda 7"/>
            <p:cNvSpPr/>
            <p:nvPr/>
          </p:nvSpPr>
          <p:spPr>
            <a:xfrm rot="16200000">
              <a:off x="6639803" y="4758510"/>
              <a:ext cx="211960" cy="1780336"/>
            </a:xfrm>
            <a:prstGeom prst="leftBrace">
              <a:avLst/>
            </a:prstGeom>
            <a:noFill/>
            <a:ln w="9525" cap="flat" cmpd="sng" algn="ctr">
              <a:solidFill>
                <a:srgbClr val="141E3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Calibri"/>
                <a:ea typeface="+mn-ea"/>
                <a:cs typeface="+mn-cs"/>
              </a:endParaRPr>
            </a:p>
          </p:txBody>
        </p:sp>
        <p:sp>
          <p:nvSpPr>
            <p:cNvPr id="60" name="Chave Esquerda 7"/>
            <p:cNvSpPr/>
            <p:nvPr/>
          </p:nvSpPr>
          <p:spPr>
            <a:xfrm rot="16200000">
              <a:off x="8420139" y="4748726"/>
              <a:ext cx="211960" cy="1780336"/>
            </a:xfrm>
            <a:prstGeom prst="leftBrace">
              <a:avLst/>
            </a:prstGeom>
            <a:noFill/>
            <a:ln w="9525" cap="flat" cmpd="sng" algn="ctr">
              <a:solidFill>
                <a:srgbClr val="141E3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31151024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C13E7A-F14F-47D0-80CD-A1CC2ACC6FC2}"/>
              </a:ext>
            </a:extLst>
          </p:cNvPr>
          <p:cNvSpPr>
            <a:spLocks noGrp="1"/>
          </p:cNvSpPr>
          <p:nvPr>
            <p:ph type="title"/>
          </p:nvPr>
        </p:nvSpPr>
        <p:spPr>
          <a:xfrm>
            <a:off x="120073" y="-41787"/>
            <a:ext cx="11569904" cy="1311128"/>
          </a:xfrm>
        </p:spPr>
        <p:txBody>
          <a:bodyPr/>
          <a:lstStyle/>
          <a:p>
            <a:r>
              <a:rPr lang="pt-BR" dirty="0"/>
              <a:t>Lições aprendidas a partir de políticas </a:t>
            </a:r>
            <a:br>
              <a:rPr lang="pt-BR" dirty="0"/>
            </a:br>
            <a:r>
              <a:rPr lang="pt-BR" dirty="0"/>
              <a:t>                                  de TIC para educação...</a:t>
            </a:r>
          </a:p>
        </p:txBody>
      </p:sp>
      <p:sp>
        <p:nvSpPr>
          <p:cNvPr id="3" name="Espaço Reservado para Conteúdo 2">
            <a:extLst>
              <a:ext uri="{FF2B5EF4-FFF2-40B4-BE49-F238E27FC236}">
                <a16:creationId xmlns:a16="http://schemas.microsoft.com/office/drawing/2014/main" id="{A4BF640A-3720-4494-8B58-7D043B69A664}"/>
              </a:ext>
            </a:extLst>
          </p:cNvPr>
          <p:cNvSpPr>
            <a:spLocks noGrp="1"/>
          </p:cNvSpPr>
          <p:nvPr>
            <p:ph idx="1"/>
          </p:nvPr>
        </p:nvSpPr>
        <p:spPr>
          <a:xfrm>
            <a:off x="1976581" y="1604605"/>
            <a:ext cx="10613143" cy="4688893"/>
          </a:xfrm>
        </p:spPr>
        <p:txBody>
          <a:bodyPr/>
          <a:lstStyle/>
          <a:p>
            <a:endParaRPr lang="pt-BR" dirty="0"/>
          </a:p>
        </p:txBody>
      </p:sp>
      <p:graphicFrame>
        <p:nvGraphicFramePr>
          <p:cNvPr id="4" name="Diagrama 3">
            <a:extLst>
              <a:ext uri="{FF2B5EF4-FFF2-40B4-BE49-F238E27FC236}">
                <a16:creationId xmlns:a16="http://schemas.microsoft.com/office/drawing/2014/main" id="{3D29E848-C0C9-42F9-9B87-E9AEFD4B80EF}"/>
              </a:ext>
            </a:extLst>
          </p:cNvPr>
          <p:cNvGraphicFramePr/>
          <p:nvPr>
            <p:extLst>
              <p:ext uri="{D42A27DB-BD31-4B8C-83A1-F6EECF244321}">
                <p14:modId xmlns:p14="http://schemas.microsoft.com/office/powerpoint/2010/main" val="3929556489"/>
              </p:ext>
            </p:extLst>
          </p:nvPr>
        </p:nvGraphicFramePr>
        <p:xfrm>
          <a:off x="1145309" y="1410409"/>
          <a:ext cx="10123056" cy="52602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CaixaDeTexto 4">
            <a:extLst>
              <a:ext uri="{FF2B5EF4-FFF2-40B4-BE49-F238E27FC236}">
                <a16:creationId xmlns:a16="http://schemas.microsoft.com/office/drawing/2014/main" id="{C9550284-DCF2-42BB-AE91-AEF25C225D73}"/>
              </a:ext>
            </a:extLst>
          </p:cNvPr>
          <p:cNvSpPr txBox="1"/>
          <p:nvPr/>
        </p:nvSpPr>
        <p:spPr>
          <a:xfrm flipH="1">
            <a:off x="2198252" y="1604605"/>
            <a:ext cx="2355275" cy="1754326"/>
          </a:xfrm>
          <a:prstGeom prst="rect">
            <a:avLst/>
          </a:prstGeom>
          <a:noFill/>
        </p:spPr>
        <p:txBody>
          <a:bodyPr wrap="square" rtlCol="0">
            <a:spAutoFit/>
          </a:bodyPr>
          <a:lstStyle/>
          <a:p>
            <a:r>
              <a:rPr lang="pt-BR" b="1" dirty="0"/>
              <a:t>Liderança política</a:t>
            </a:r>
            <a:endParaRPr lang="pt-BR" b="1" dirty="0">
              <a:solidFill>
                <a:srgbClr val="141E3D"/>
              </a:solidFill>
            </a:endParaRPr>
          </a:p>
          <a:p>
            <a:r>
              <a:rPr lang="pt-BR" b="1" dirty="0"/>
              <a:t>Crie uma visão e alinhe a política com metas nacionais</a:t>
            </a:r>
          </a:p>
          <a:p>
            <a:endParaRPr lang="pt-BR" dirty="0"/>
          </a:p>
          <a:p>
            <a:endParaRPr lang="pt-BR" dirty="0"/>
          </a:p>
        </p:txBody>
      </p:sp>
      <p:sp>
        <p:nvSpPr>
          <p:cNvPr id="6" name="CaixaDeTexto 5">
            <a:extLst>
              <a:ext uri="{FF2B5EF4-FFF2-40B4-BE49-F238E27FC236}">
                <a16:creationId xmlns:a16="http://schemas.microsoft.com/office/drawing/2014/main" id="{E1A3DAFF-67F2-454E-B897-7556C2D53795}"/>
              </a:ext>
            </a:extLst>
          </p:cNvPr>
          <p:cNvSpPr txBox="1"/>
          <p:nvPr/>
        </p:nvSpPr>
        <p:spPr>
          <a:xfrm>
            <a:off x="7010400" y="4313382"/>
            <a:ext cx="1283855" cy="369332"/>
          </a:xfrm>
          <a:prstGeom prst="rect">
            <a:avLst/>
          </a:prstGeom>
          <a:noFill/>
        </p:spPr>
        <p:txBody>
          <a:bodyPr wrap="square" rtlCol="0">
            <a:spAutoFit/>
          </a:bodyPr>
          <a:lstStyle/>
          <a:p>
            <a:endParaRPr lang="pt-BR" dirty="0"/>
          </a:p>
        </p:txBody>
      </p:sp>
      <p:sp>
        <p:nvSpPr>
          <p:cNvPr id="11" name="Elipse 10">
            <a:extLst>
              <a:ext uri="{FF2B5EF4-FFF2-40B4-BE49-F238E27FC236}">
                <a16:creationId xmlns:a16="http://schemas.microsoft.com/office/drawing/2014/main" id="{EE4B4F68-91D9-4F7D-AE79-CB59379B9DCF}"/>
              </a:ext>
            </a:extLst>
          </p:cNvPr>
          <p:cNvSpPr/>
          <p:nvPr/>
        </p:nvSpPr>
        <p:spPr>
          <a:xfrm>
            <a:off x="6169891" y="4987637"/>
            <a:ext cx="3168073" cy="1824094"/>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2" name="CaixaDeTexto 11">
            <a:extLst>
              <a:ext uri="{FF2B5EF4-FFF2-40B4-BE49-F238E27FC236}">
                <a16:creationId xmlns:a16="http://schemas.microsoft.com/office/drawing/2014/main" id="{8004340C-4C8D-43D5-B2F8-77F92CBCBACF}"/>
              </a:ext>
            </a:extLst>
          </p:cNvPr>
          <p:cNvSpPr txBox="1"/>
          <p:nvPr/>
        </p:nvSpPr>
        <p:spPr>
          <a:xfrm>
            <a:off x="9337964" y="5290632"/>
            <a:ext cx="2269597" cy="646331"/>
          </a:xfrm>
          <a:prstGeom prst="rect">
            <a:avLst/>
          </a:prstGeom>
          <a:noFill/>
        </p:spPr>
        <p:txBody>
          <a:bodyPr wrap="square" rtlCol="0">
            <a:spAutoFit/>
          </a:bodyPr>
          <a:lstStyle/>
          <a:p>
            <a:r>
              <a:rPr lang="pt-BR" sz="3600" dirty="0">
                <a:solidFill>
                  <a:srgbClr val="FF0000"/>
                </a:solidFill>
              </a:rPr>
              <a:t>Desafio!!</a:t>
            </a:r>
            <a:endParaRPr lang="pt-BR" dirty="0"/>
          </a:p>
        </p:txBody>
      </p:sp>
      <p:sp>
        <p:nvSpPr>
          <p:cNvPr id="13" name="Seta: para a Direita Listrada 12">
            <a:extLst>
              <a:ext uri="{FF2B5EF4-FFF2-40B4-BE49-F238E27FC236}">
                <a16:creationId xmlns:a16="http://schemas.microsoft.com/office/drawing/2014/main" id="{C90EFF7A-6D4E-4F4C-B463-CBC704ACDAA4}"/>
              </a:ext>
            </a:extLst>
          </p:cNvPr>
          <p:cNvSpPr/>
          <p:nvPr/>
        </p:nvSpPr>
        <p:spPr>
          <a:xfrm rot="7766223">
            <a:off x="10543577" y="4222615"/>
            <a:ext cx="1290656" cy="951460"/>
          </a:xfrm>
          <a:prstGeom prst="striped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348635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IEB_modelo">
  <a:themeElements>
    <a:clrScheme name="CIEB_modelo">
      <a:dk1>
        <a:srgbClr val="141E3D"/>
      </a:dk1>
      <a:lt1>
        <a:srgbClr val="85C440"/>
      </a:lt1>
      <a:dk2>
        <a:srgbClr val="FFFFFF"/>
      </a:dk2>
      <a:lt2>
        <a:srgbClr val="F2F2F2"/>
      </a:lt2>
      <a:accent1>
        <a:srgbClr val="FFDD00"/>
      </a:accent1>
      <a:accent2>
        <a:srgbClr val="E62270"/>
      </a:accent2>
      <a:accent3>
        <a:srgbClr val="008BBC"/>
      </a:accent3>
      <a:accent4>
        <a:srgbClr val="8DCA7B"/>
      </a:accent4>
      <a:accent5>
        <a:srgbClr val="287928"/>
      </a:accent5>
      <a:accent6>
        <a:srgbClr val="164227"/>
      </a:accent6>
      <a:hlink>
        <a:srgbClr val="85C440"/>
      </a:hlink>
      <a:folHlink>
        <a:srgbClr val="8DCA7B"/>
      </a:folHlink>
    </a:clrScheme>
    <a:fontScheme name="CIEB_model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IEB_modelo" id="{CD79856A-4948-4544-97BB-F320FBE4F1B2}" vid="{EF03ACC1-BF41-4FB3-A917-857EDE579F14}"/>
    </a:ext>
  </a:extLst>
</a:theme>
</file>

<file path=ppt/theme/theme3.xml><?xml version="1.0" encoding="utf-8"?>
<a:theme xmlns:a="http://schemas.openxmlformats.org/drawingml/2006/main" name="1_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IEB_Tema">
  <a:themeElements>
    <a:clrScheme name="CIEB_modelo">
      <a:dk1>
        <a:srgbClr val="141E3D"/>
      </a:dk1>
      <a:lt1>
        <a:srgbClr val="85C440"/>
      </a:lt1>
      <a:dk2>
        <a:srgbClr val="FFFFFF"/>
      </a:dk2>
      <a:lt2>
        <a:srgbClr val="F2F2F2"/>
      </a:lt2>
      <a:accent1>
        <a:srgbClr val="FFDD00"/>
      </a:accent1>
      <a:accent2>
        <a:srgbClr val="E62270"/>
      </a:accent2>
      <a:accent3>
        <a:srgbClr val="008BBC"/>
      </a:accent3>
      <a:accent4>
        <a:srgbClr val="8DCA7B"/>
      </a:accent4>
      <a:accent5>
        <a:srgbClr val="287928"/>
      </a:accent5>
      <a:accent6>
        <a:srgbClr val="164227"/>
      </a:accent6>
      <a:hlink>
        <a:srgbClr val="85C440"/>
      </a:hlink>
      <a:folHlink>
        <a:srgbClr val="8DCA7B"/>
      </a:folHlink>
    </a:clrScheme>
    <a:fontScheme name="CIEB_model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IEB_Tema" id="{F9636237-4014-4B66-BDB0-DA0B1E1E8D29}" vid="{5C44B446-A33A-47CF-AED4-1455D768E417}"/>
    </a:ext>
  </a:extLst>
</a:theme>
</file>

<file path=ppt/theme/theme5.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37</TotalTime>
  <Words>956</Words>
  <Application>Microsoft Office PowerPoint</Application>
  <PresentationFormat>Widescreen</PresentationFormat>
  <Paragraphs>134</Paragraphs>
  <Slides>19</Slides>
  <Notes>4</Notes>
  <HiddenSlides>0</HiddenSlides>
  <MMClips>0</MMClips>
  <ScaleCrop>false</ScaleCrop>
  <HeadingPairs>
    <vt:vector size="8" baseType="variant">
      <vt:variant>
        <vt:lpstr>Fontes usadas</vt:lpstr>
      </vt:variant>
      <vt:variant>
        <vt:i4>5</vt:i4>
      </vt:variant>
      <vt:variant>
        <vt:lpstr>Tema</vt:lpstr>
      </vt:variant>
      <vt:variant>
        <vt:i4>4</vt:i4>
      </vt:variant>
      <vt:variant>
        <vt:lpstr>Servidores OLE inseridos</vt:lpstr>
      </vt:variant>
      <vt:variant>
        <vt:i4>1</vt:i4>
      </vt:variant>
      <vt:variant>
        <vt:lpstr>Títulos de slides</vt:lpstr>
      </vt:variant>
      <vt:variant>
        <vt:i4>19</vt:i4>
      </vt:variant>
    </vt:vector>
  </HeadingPairs>
  <TitlesOfParts>
    <vt:vector size="29" baseType="lpstr">
      <vt:lpstr>Arial</vt:lpstr>
      <vt:lpstr>Calibri</vt:lpstr>
      <vt:lpstr>Calibri Light</vt:lpstr>
      <vt:lpstr>Lato Black</vt:lpstr>
      <vt:lpstr>Times New Roman</vt:lpstr>
      <vt:lpstr>Tema do Office</vt:lpstr>
      <vt:lpstr>CIEB_modelo</vt:lpstr>
      <vt:lpstr>1_Tema do Office</vt:lpstr>
      <vt:lpstr>CIEB_Tema</vt:lpstr>
      <vt:lpstr>think-cell Slide</vt:lpstr>
      <vt:lpstr>Apresentação do PowerPoint</vt:lpstr>
      <vt:lpstr>Apresentação do PowerPoint</vt:lpstr>
      <vt:lpstr>Apresentação do PowerPoint</vt:lpstr>
      <vt:lpstr>Promessas da tecnologia para educação</vt:lpstr>
      <vt:lpstr>Apresentação do PowerPoint</vt:lpstr>
      <vt:lpstr>Mas as políticas focam em diferentes níveis....</vt:lpstr>
      <vt:lpstr>E em diferentes aspectos...</vt:lpstr>
      <vt:lpstr>   PLANEJAMENTO E IMPLEMENTAÇÃO EM VÁRIAS DIMENSÕES</vt:lpstr>
      <vt:lpstr>Lições aprendidas a partir de políticas                                    de TIC para educação...</vt:lpstr>
      <vt:lpstr>Várias organizações tentam desenvolver  avaliação de políticas de TIC na educação...</vt:lpstr>
      <vt:lpstr>Exemplo 1: UNESCO</vt:lpstr>
      <vt:lpstr>Exemplo 2: OCDE/EUROPEAN COMMISSION (2009) </vt:lpstr>
      <vt:lpstr>Boa notícia!</vt:lpstr>
      <vt:lpstr>Apresentação do PowerPoint</vt:lpstr>
      <vt:lpstr>Inovar na Educação por meio da tecnologia....</vt:lpstr>
      <vt:lpstr>Estratégias para promover mudanças sociais sistêmicas</vt:lpstr>
      <vt:lpstr>Apresentação do PowerPoint</vt:lpstr>
      <vt:lpstr>Apresentação do PowerPoint</vt:lpstr>
      <vt:lpstr>ICT policy in the context of transformational change in education: reform in which all the components of the educational system, not just ICT, that are aligned with social and economic development goals. This approach envisions an education system in which students engage in the sustained, collaborative process of building on current knowledge and cultural artifacts to create and share new contributions. Students develop the ability to use a range of technology tools; to search for, organize, and analyse information; to communicate effectively in a variety of forms; to collaborate with others of diverse skills and backgrounds; to think critically, innovatively, and creatively; and to continue their learning throughout their lifetimes. Teachers collaborate with students and model the learning process. They are continuously engaged in educational experimentation and innovation in collaboration with an extended network of colleagues. Head teachers work with their staff to continuously monitor their progress, review the school’s goals and vision, and adjust to new circumstances. And schools are transformed into learning organizations in which all actors are involved in the learning process. Within these schools, teachers and students use a variety of electronic devices, digital resources, and social and knowledge network environments to design ICT-based learning resources and tools that support the development of knowledge creation and critical thinking skills; support continuous, refl ective learning processes; and support interaction with knowledge communities that extend beyond the confi nes of time and place. For many policy-makers, it will be a major accomplishment to introduce ICT innovations tha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T policy in the context of transformational change in education: reform in which all the components of the educational system, not just ICT, that are aligned with social and economic development goals. This approach envisions an education system in which students engage in the sustained, collaborative process of building on current knowledge and cultural artifacts to create and share new contributions. Students develop the ability to use a range of technology tools; to search for, organize, and analyse information; to communicate effectively in a variety of forms; to collaborate with others of diverse skills and backgrounds; to think critically, innovatively, and creatively; and to continue their learning throughout their lifetimes. Teachers collaborate with students and model the learning process. They are continuously engaged in educational experimentation and innovation in collaboration with an extended network of colleagues. Head teachers work with their staff to continuously monitor their progress, review the school’s goals and vision, and adjust to new circumstances. And schools are transformed into learning organizations in which all actors are involved in the learning process. Within these schools, teachers and students use a variety of electronic devices, digital resources, and social and knowledge network environments to design ICT-based learning resources and tools that support the development of knowledge creation and critical thinking skills; support continuous, refl ective learning processes; and support interaction with knowledge communities that extend beyond the confi nes of time and place. For many policy-makers, it will be a major accomplishment to introduce ICT innovations that</dc:title>
  <dc:creator>Lucia Dellagnelo</dc:creator>
  <cp:lastModifiedBy>Lucia Dellagnelo</cp:lastModifiedBy>
  <cp:revision>36</cp:revision>
  <cp:lastPrinted>2018-06-03T15:58:45Z</cp:lastPrinted>
  <dcterms:created xsi:type="dcterms:W3CDTF">2018-06-01T18:02:39Z</dcterms:created>
  <dcterms:modified xsi:type="dcterms:W3CDTF">2018-06-06T15:56:48Z</dcterms:modified>
</cp:coreProperties>
</file>